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54" r:id="rId4"/>
    <p:sldMasterId id="2147483669" r:id="rId5"/>
  </p:sldMasterIdLst>
  <p:notesMasterIdLst>
    <p:notesMasterId r:id="rId43"/>
  </p:notesMasterIdLst>
  <p:handoutMasterIdLst>
    <p:handoutMasterId r:id="rId44"/>
  </p:handoutMasterIdLst>
  <p:sldIdLst>
    <p:sldId id="256" r:id="rId6"/>
    <p:sldId id="257" r:id="rId7"/>
    <p:sldId id="306" r:id="rId8"/>
    <p:sldId id="310" r:id="rId9"/>
    <p:sldId id="309" r:id="rId10"/>
    <p:sldId id="299" r:id="rId11"/>
    <p:sldId id="289" r:id="rId12"/>
    <p:sldId id="304" r:id="rId13"/>
    <p:sldId id="294" r:id="rId14"/>
    <p:sldId id="312" r:id="rId15"/>
    <p:sldId id="316" r:id="rId16"/>
    <p:sldId id="313" r:id="rId17"/>
    <p:sldId id="317" r:id="rId18"/>
    <p:sldId id="318" r:id="rId19"/>
    <p:sldId id="319" r:id="rId20"/>
    <p:sldId id="323" r:id="rId21"/>
    <p:sldId id="324" r:id="rId22"/>
    <p:sldId id="325" r:id="rId23"/>
    <p:sldId id="327" r:id="rId24"/>
    <p:sldId id="314" r:id="rId25"/>
    <p:sldId id="320" r:id="rId26"/>
    <p:sldId id="322" r:id="rId27"/>
    <p:sldId id="315" r:id="rId28"/>
    <p:sldId id="328" r:id="rId29"/>
    <p:sldId id="321" r:id="rId30"/>
    <p:sldId id="330" r:id="rId31"/>
    <p:sldId id="335" r:id="rId32"/>
    <p:sldId id="336" r:id="rId33"/>
    <p:sldId id="329" r:id="rId34"/>
    <p:sldId id="308" r:id="rId35"/>
    <p:sldId id="339" r:id="rId36"/>
    <p:sldId id="302" r:id="rId37"/>
    <p:sldId id="307" r:id="rId38"/>
    <p:sldId id="332" r:id="rId39"/>
    <p:sldId id="284" r:id="rId40"/>
    <p:sldId id="285" r:id="rId41"/>
    <p:sldId id="265" r:id="rId42"/>
  </p:sldIdLst>
  <p:sldSz cx="12192000" cy="6858000"/>
  <p:notesSz cx="6858000" cy="9144000"/>
  <p:embeddedFontLst>
    <p:embeddedFont>
      <p:font typeface="Inter Tight" panose="020B0604020202020204" charset="0"/>
      <p:regular r:id="rId45"/>
      <p:bold r:id="rId46"/>
      <p:italic r:id="rId47"/>
      <p:boldItalic r:id="rId48"/>
    </p:embeddedFont>
    <p:embeddedFont>
      <p:font typeface="Oswald" panose="00000500000000000000" pitchFamily="2" charset="0"/>
      <p:regular r:id="rId49"/>
      <p:bold r:id="rId50"/>
    </p:embeddedFont>
    <p:embeddedFont>
      <p:font typeface="Poppins" panose="00000500000000000000" pitchFamily="2" charset="0"/>
      <p:regular r:id="rId51"/>
      <p:bold r:id="rId52"/>
      <p:italic r:id="rId53"/>
      <p:boldItalic r:id="rId54"/>
    </p:embeddedFont>
    <p:embeddedFont>
      <p:font typeface="Poppins Light" panose="00000400000000000000" pitchFamily="2" charset="0"/>
      <p:regular r:id="rId55"/>
      <p:italic r:id="rId56"/>
    </p:embeddedFont>
    <p:embeddedFont>
      <p:font typeface="Poppins SemiBold" panose="00000700000000000000" pitchFamily="2" charset="0"/>
      <p:bold r:id="rId57"/>
      <p:boldItalic r:id="rId58"/>
    </p:embeddedFont>
    <p:embeddedFont>
      <p:font typeface="Urbanist" panose="020B0604020202020204" charset="0"/>
      <p:regular r:id="rId59"/>
      <p:bold r:id="rId60"/>
      <p:italic r:id="rId61"/>
      <p:boldItalic r:id="rId62"/>
    </p:embeddedFont>
    <p:embeddedFont>
      <p:font typeface="Urbanist Medium" panose="020B0604020202020204" charset="0"/>
      <p:regular r:id="rId63"/>
      <p:italic r:id="rId64"/>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3253"/>
    <a:srgbClr val="014B7F"/>
    <a:srgbClr val="0099CC"/>
    <a:srgbClr val="E13C5B"/>
    <a:srgbClr val="6002F3"/>
    <a:srgbClr val="3B0199"/>
    <a:srgbClr val="A61A35"/>
    <a:srgbClr val="1590E5"/>
    <a:srgbClr val="D111E5"/>
    <a:srgbClr val="1848E6"/>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171" autoAdjust="0"/>
    <p:restoredTop sz="95948" autoAdjust="0"/>
  </p:normalViewPr>
  <p:slideViewPr>
    <p:cSldViewPr snapToGrid="0" showGuides="1">
      <p:cViewPr varScale="1">
        <p:scale>
          <a:sx n="70" d="100"/>
          <a:sy n="70" d="100"/>
        </p:scale>
        <p:origin x="684" y="52"/>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showGuides="1">
      <p:cViewPr varScale="1">
        <p:scale>
          <a:sx n="81" d="100"/>
          <a:sy n="81" d="100"/>
        </p:scale>
        <p:origin x="3894" y="10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font" Target="fonts/font3.fntdata"/><Relationship Id="rId63" Type="http://schemas.openxmlformats.org/officeDocument/2006/relationships/font" Target="fonts/font19.fntdata"/><Relationship Id="rId68"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font" Target="fonts/font1.fntdata"/><Relationship Id="rId53" Type="http://schemas.openxmlformats.org/officeDocument/2006/relationships/font" Target="fonts/font9.fntdata"/><Relationship Id="rId58" Type="http://schemas.openxmlformats.org/officeDocument/2006/relationships/font" Target="fonts/font14.fntdata"/><Relationship Id="rId66"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font" Target="fonts/font17.fntdata"/><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openxmlformats.org/officeDocument/2006/relationships/font" Target="fonts/font4.fntdata"/><Relationship Id="rId56" Type="http://schemas.openxmlformats.org/officeDocument/2006/relationships/font" Target="fonts/font12.fntdata"/><Relationship Id="rId64" Type="http://schemas.openxmlformats.org/officeDocument/2006/relationships/font" Target="fonts/font20.fntdata"/><Relationship Id="rId69" Type="http://schemas.microsoft.com/office/2016/11/relationships/changesInfo" Target="changesInfos/changesInfo1.xml"/><Relationship Id="rId8" Type="http://schemas.openxmlformats.org/officeDocument/2006/relationships/slide" Target="slides/slide3.xml"/><Relationship Id="rId51" Type="http://schemas.openxmlformats.org/officeDocument/2006/relationships/font" Target="fonts/font7.fntdata"/><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font" Target="fonts/font2.fntdata"/><Relationship Id="rId59" Type="http://schemas.openxmlformats.org/officeDocument/2006/relationships/font" Target="fonts/font15.fntdata"/><Relationship Id="rId67"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font" Target="fonts/font10.fntdata"/><Relationship Id="rId62" Type="http://schemas.openxmlformats.org/officeDocument/2006/relationships/font" Target="fonts/font18.fntdata"/><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5.fntdata"/><Relationship Id="rId57" Type="http://schemas.openxmlformats.org/officeDocument/2006/relationships/font" Target="fonts/font13.fntdata"/><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handoutMaster" Target="handoutMasters/handoutMaster1.xml"/><Relationship Id="rId52" Type="http://schemas.openxmlformats.org/officeDocument/2006/relationships/font" Target="fonts/font8.fntdata"/><Relationship Id="rId60" Type="http://schemas.openxmlformats.org/officeDocument/2006/relationships/font" Target="fonts/font16.fntdata"/><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font" Target="fonts/font6.fntdata"/><Relationship Id="rId55" Type="http://schemas.openxmlformats.org/officeDocument/2006/relationships/font" Target="fonts/font11.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illegas, Ximena" userId="6d1e015f-68ed-4b93-92e8-cba1c55e826f" providerId="ADAL" clId="{C6649D28-C264-4AD8-AFE9-1019A722EF76}"/>
    <pc:docChg chg="custSel delSld modSld">
      <pc:chgData name="Villegas, Ximena" userId="6d1e015f-68ed-4b93-92e8-cba1c55e826f" providerId="ADAL" clId="{C6649D28-C264-4AD8-AFE9-1019A722EF76}" dt="2025-10-17T17:18:33.348" v="207" actId="47"/>
      <pc:docMkLst>
        <pc:docMk/>
      </pc:docMkLst>
      <pc:sldChg chg="modSp mod">
        <pc:chgData name="Villegas, Ximena" userId="6d1e015f-68ed-4b93-92e8-cba1c55e826f" providerId="ADAL" clId="{C6649D28-C264-4AD8-AFE9-1019A722EF76}" dt="2025-10-15T20:41:54.593" v="159" actId="113"/>
        <pc:sldMkLst>
          <pc:docMk/>
          <pc:sldMk cId="285589462" sldId="289"/>
        </pc:sldMkLst>
        <pc:spChg chg="mod">
          <ac:chgData name="Villegas, Ximena" userId="6d1e015f-68ed-4b93-92e8-cba1c55e826f" providerId="ADAL" clId="{C6649D28-C264-4AD8-AFE9-1019A722EF76}" dt="2025-10-15T20:41:54.593" v="159" actId="113"/>
          <ac:spMkLst>
            <pc:docMk/>
            <pc:sldMk cId="285589462" sldId="289"/>
            <ac:spMk id="3" creationId="{D7E552F9-3121-9B07-287F-11D239896EF1}"/>
          </ac:spMkLst>
        </pc:spChg>
      </pc:sldChg>
      <pc:sldChg chg="del">
        <pc:chgData name="Villegas, Ximena" userId="6d1e015f-68ed-4b93-92e8-cba1c55e826f" providerId="ADAL" clId="{C6649D28-C264-4AD8-AFE9-1019A722EF76}" dt="2025-10-17T17:18:33.348" v="207" actId="47"/>
        <pc:sldMkLst>
          <pc:docMk/>
          <pc:sldMk cId="1574076057" sldId="290"/>
        </pc:sldMkLst>
      </pc:sldChg>
      <pc:sldChg chg="modSp mod">
        <pc:chgData name="Villegas, Ximena" userId="6d1e015f-68ed-4b93-92e8-cba1c55e826f" providerId="ADAL" clId="{C6649D28-C264-4AD8-AFE9-1019A722EF76}" dt="2025-10-15T20:40:01.784" v="157" actId="6549"/>
        <pc:sldMkLst>
          <pc:docMk/>
          <pc:sldMk cId="1497471134" sldId="299"/>
        </pc:sldMkLst>
        <pc:spChg chg="mod">
          <ac:chgData name="Villegas, Ximena" userId="6d1e015f-68ed-4b93-92e8-cba1c55e826f" providerId="ADAL" clId="{C6649D28-C264-4AD8-AFE9-1019A722EF76}" dt="2025-10-15T20:40:01.784" v="157" actId="6549"/>
          <ac:spMkLst>
            <pc:docMk/>
            <pc:sldMk cId="1497471134" sldId="299"/>
            <ac:spMk id="6" creationId="{7222801B-16E7-1820-BC06-F4303D7BC457}"/>
          </ac:spMkLst>
        </pc:spChg>
      </pc:sldChg>
      <pc:sldChg chg="modSp mod">
        <pc:chgData name="Villegas, Ximena" userId="6d1e015f-68ed-4b93-92e8-cba1c55e826f" providerId="ADAL" clId="{C6649D28-C264-4AD8-AFE9-1019A722EF76}" dt="2025-10-15T20:26:16.600" v="1" actId="20577"/>
        <pc:sldMkLst>
          <pc:docMk/>
          <pc:sldMk cId="2879194586" sldId="306"/>
        </pc:sldMkLst>
        <pc:spChg chg="mod">
          <ac:chgData name="Villegas, Ximena" userId="6d1e015f-68ed-4b93-92e8-cba1c55e826f" providerId="ADAL" clId="{C6649D28-C264-4AD8-AFE9-1019A722EF76}" dt="2025-10-15T20:26:16.600" v="1" actId="20577"/>
          <ac:spMkLst>
            <pc:docMk/>
            <pc:sldMk cId="2879194586" sldId="306"/>
            <ac:spMk id="6" creationId="{7222801B-16E7-1820-BC06-F4303D7BC457}"/>
          </ac:spMkLst>
        </pc:spChg>
      </pc:sldChg>
      <pc:sldChg chg="modSp mod">
        <pc:chgData name="Villegas, Ximena" userId="6d1e015f-68ed-4b93-92e8-cba1c55e826f" providerId="ADAL" clId="{C6649D28-C264-4AD8-AFE9-1019A722EF76}" dt="2025-10-15T21:21:01.047" v="180" actId="20577"/>
        <pc:sldMkLst>
          <pc:docMk/>
          <pc:sldMk cId="3378172681" sldId="316"/>
        </pc:sldMkLst>
        <pc:spChg chg="mod">
          <ac:chgData name="Villegas, Ximena" userId="6d1e015f-68ed-4b93-92e8-cba1c55e826f" providerId="ADAL" clId="{C6649D28-C264-4AD8-AFE9-1019A722EF76}" dt="2025-10-15T21:21:01.047" v="180" actId="20577"/>
          <ac:spMkLst>
            <pc:docMk/>
            <pc:sldMk cId="3378172681" sldId="316"/>
            <ac:spMk id="2" creationId="{D4F21E28-3FAD-50F1-574B-E3F66E94DDB9}"/>
          </ac:spMkLst>
        </pc:spChg>
      </pc:sldChg>
      <pc:sldChg chg="modSp mod">
        <pc:chgData name="Villegas, Ximena" userId="6d1e015f-68ed-4b93-92e8-cba1c55e826f" providerId="ADAL" clId="{C6649D28-C264-4AD8-AFE9-1019A722EF76}" dt="2025-10-15T21:27:54.375" v="181" actId="2711"/>
        <pc:sldMkLst>
          <pc:docMk/>
          <pc:sldMk cId="3958731395" sldId="318"/>
        </pc:sldMkLst>
        <pc:graphicFrameChg chg="modGraphic">
          <ac:chgData name="Villegas, Ximena" userId="6d1e015f-68ed-4b93-92e8-cba1c55e826f" providerId="ADAL" clId="{C6649D28-C264-4AD8-AFE9-1019A722EF76}" dt="2025-10-15T21:27:54.375" v="181" actId="2711"/>
          <ac:graphicFrameMkLst>
            <pc:docMk/>
            <pc:sldMk cId="3958731395" sldId="318"/>
            <ac:graphicFrameMk id="6" creationId="{0DEE4E2F-46C6-E812-7408-2977A47D9F20}"/>
          </ac:graphicFrameMkLst>
        </pc:graphicFrameChg>
      </pc:sldChg>
      <pc:sldChg chg="modSp mod">
        <pc:chgData name="Villegas, Ximena" userId="6d1e015f-68ed-4b93-92e8-cba1c55e826f" providerId="ADAL" clId="{C6649D28-C264-4AD8-AFE9-1019A722EF76}" dt="2025-10-15T21:30:55.733" v="184" actId="20577"/>
        <pc:sldMkLst>
          <pc:docMk/>
          <pc:sldMk cId="2394739310" sldId="319"/>
        </pc:sldMkLst>
        <pc:spChg chg="mod">
          <ac:chgData name="Villegas, Ximena" userId="6d1e015f-68ed-4b93-92e8-cba1c55e826f" providerId="ADAL" clId="{C6649D28-C264-4AD8-AFE9-1019A722EF76}" dt="2025-10-15T21:30:55.733" v="184" actId="20577"/>
          <ac:spMkLst>
            <pc:docMk/>
            <pc:sldMk cId="2394739310" sldId="319"/>
            <ac:spMk id="3" creationId="{52484EDB-5897-BE08-FEA1-6313727E82E1}"/>
          </ac:spMkLst>
        </pc:spChg>
      </pc:sldChg>
      <pc:sldChg chg="modSp mod">
        <pc:chgData name="Villegas, Ximena" userId="6d1e015f-68ed-4b93-92e8-cba1c55e826f" providerId="ADAL" clId="{C6649D28-C264-4AD8-AFE9-1019A722EF76}" dt="2025-10-15T21:52:27.820" v="191" actId="20577"/>
        <pc:sldMkLst>
          <pc:docMk/>
          <pc:sldMk cId="1500465961" sldId="321"/>
        </pc:sldMkLst>
        <pc:spChg chg="mod">
          <ac:chgData name="Villegas, Ximena" userId="6d1e015f-68ed-4b93-92e8-cba1c55e826f" providerId="ADAL" clId="{C6649D28-C264-4AD8-AFE9-1019A722EF76}" dt="2025-10-15T21:52:27.820" v="191" actId="20577"/>
          <ac:spMkLst>
            <pc:docMk/>
            <pc:sldMk cId="1500465961" sldId="321"/>
            <ac:spMk id="21" creationId="{34DD94DE-E870-9AE1-5349-31841E3F9FE0}"/>
          </ac:spMkLst>
        </pc:spChg>
      </pc:sldChg>
      <pc:sldChg chg="modSp mod">
        <pc:chgData name="Villegas, Ximena" userId="6d1e015f-68ed-4b93-92e8-cba1c55e826f" providerId="ADAL" clId="{C6649D28-C264-4AD8-AFE9-1019A722EF76}" dt="2025-10-15T21:33:00.547" v="189" actId="20577"/>
        <pc:sldMkLst>
          <pc:docMk/>
          <pc:sldMk cId="2764065383" sldId="323"/>
        </pc:sldMkLst>
        <pc:spChg chg="mod">
          <ac:chgData name="Villegas, Ximena" userId="6d1e015f-68ed-4b93-92e8-cba1c55e826f" providerId="ADAL" clId="{C6649D28-C264-4AD8-AFE9-1019A722EF76}" dt="2025-10-15T21:33:00.547" v="189" actId="20577"/>
          <ac:spMkLst>
            <pc:docMk/>
            <pc:sldMk cId="2764065383" sldId="323"/>
            <ac:spMk id="3" creationId="{E14D85E2-2327-A5F2-16EF-E106DD69D206}"/>
          </ac:spMkLst>
        </pc:spChg>
      </pc:sldChg>
      <pc:sldChg chg="modSp mod">
        <pc:chgData name="Villegas, Ximena" userId="6d1e015f-68ed-4b93-92e8-cba1c55e826f" providerId="ADAL" clId="{C6649D28-C264-4AD8-AFE9-1019A722EF76}" dt="2025-10-15T21:34:29.597" v="190" actId="114"/>
        <pc:sldMkLst>
          <pc:docMk/>
          <pc:sldMk cId="418139057" sldId="324"/>
        </pc:sldMkLst>
        <pc:spChg chg="mod">
          <ac:chgData name="Villegas, Ximena" userId="6d1e015f-68ed-4b93-92e8-cba1c55e826f" providerId="ADAL" clId="{C6649D28-C264-4AD8-AFE9-1019A722EF76}" dt="2025-10-15T21:34:29.597" v="190" actId="114"/>
          <ac:spMkLst>
            <pc:docMk/>
            <pc:sldMk cId="418139057" sldId="324"/>
            <ac:spMk id="20" creationId="{7E885374-C59D-A5B6-144F-7B01BE9109CA}"/>
          </ac:spMkLst>
        </pc:spChg>
      </pc:sldChg>
      <pc:sldChg chg="modSp mod">
        <pc:chgData name="Villegas, Ximena" userId="6d1e015f-68ed-4b93-92e8-cba1c55e826f" providerId="ADAL" clId="{C6649D28-C264-4AD8-AFE9-1019A722EF76}" dt="2025-10-15T21:55:21.363" v="206" actId="1036"/>
        <pc:sldMkLst>
          <pc:docMk/>
          <pc:sldMk cId="1752701351" sldId="339"/>
        </pc:sldMkLst>
        <pc:spChg chg="mod">
          <ac:chgData name="Villegas, Ximena" userId="6d1e015f-68ed-4b93-92e8-cba1c55e826f" providerId="ADAL" clId="{C6649D28-C264-4AD8-AFE9-1019A722EF76}" dt="2025-10-15T21:55:21.363" v="206" actId="1036"/>
          <ac:spMkLst>
            <pc:docMk/>
            <pc:sldMk cId="1752701351" sldId="339"/>
            <ac:spMk id="4" creationId="{12FFF224-D369-4342-4C49-F04E2D8339CA}"/>
          </ac:spMkLst>
        </pc:spChg>
        <pc:spChg chg="mod">
          <ac:chgData name="Villegas, Ximena" userId="6d1e015f-68ed-4b93-92e8-cba1c55e826f" providerId="ADAL" clId="{C6649D28-C264-4AD8-AFE9-1019A722EF76}" dt="2025-10-15T21:55:21.363" v="206" actId="1036"/>
          <ac:spMkLst>
            <pc:docMk/>
            <pc:sldMk cId="1752701351" sldId="339"/>
            <ac:spMk id="6" creationId="{9360961E-B410-CEC9-BEA4-D0C2A515B7B7}"/>
          </ac:spMkLst>
        </pc:spChg>
        <pc:picChg chg="mod">
          <ac:chgData name="Villegas, Ximena" userId="6d1e015f-68ed-4b93-92e8-cba1c55e826f" providerId="ADAL" clId="{C6649D28-C264-4AD8-AFE9-1019A722EF76}" dt="2025-10-15T21:55:21.363" v="206" actId="1036"/>
          <ac:picMkLst>
            <pc:docMk/>
            <pc:sldMk cId="1752701351" sldId="339"/>
            <ac:picMk id="11" creationId="{AB6495DD-6073-924B-6ABD-BDCEBBE2D154}"/>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7DDC603-8913-0713-C47B-30134B8FC5C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a:extLst>
              <a:ext uri="{FF2B5EF4-FFF2-40B4-BE49-F238E27FC236}">
                <a16:creationId xmlns:a16="http://schemas.microsoft.com/office/drawing/2014/main" id="{4B51F545-F110-4687-1433-5191036D243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32204E3-C1A7-4C8E-9D37-4CDF0B4A31CF}" type="datetimeFigureOut">
              <a:rPr lang="en-ID" smtClean="0"/>
              <a:t>17/10/2025</a:t>
            </a:fld>
            <a:endParaRPr lang="en-ID"/>
          </a:p>
        </p:txBody>
      </p:sp>
      <p:sp>
        <p:nvSpPr>
          <p:cNvPr id="4" name="Footer Placeholder 3">
            <a:extLst>
              <a:ext uri="{FF2B5EF4-FFF2-40B4-BE49-F238E27FC236}">
                <a16:creationId xmlns:a16="http://schemas.microsoft.com/office/drawing/2014/main" id="{8E6924D1-2C10-E51B-73BE-FE9E2FA56DD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5" name="Slide Number Placeholder 4">
            <a:extLst>
              <a:ext uri="{FF2B5EF4-FFF2-40B4-BE49-F238E27FC236}">
                <a16:creationId xmlns:a16="http://schemas.microsoft.com/office/drawing/2014/main" id="{D4D3EAE8-3B48-01BF-5B07-E9E8B09AAE3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70E762C-9169-42C1-9E72-8EBD2C7D8006}" type="slidenum">
              <a:rPr lang="en-ID" smtClean="0"/>
              <a:t>‹#›</a:t>
            </a:fld>
            <a:endParaRPr lang="en-ID"/>
          </a:p>
        </p:txBody>
      </p:sp>
    </p:spTree>
    <p:extLst>
      <p:ext uri="{BB962C8B-B14F-4D97-AF65-F5344CB8AC3E}">
        <p14:creationId xmlns:p14="http://schemas.microsoft.com/office/powerpoint/2010/main" val="3912018518"/>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E519E39-3B8D-47F4-8D52-BE50256FBC3F}" type="datetimeFigureOut">
              <a:rPr lang="en-ID" smtClean="0"/>
              <a:t>17/10/2025</a:t>
            </a:fld>
            <a:endParaRPr lang="en-ID"/>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D"/>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5A5F5F8-B77E-4D07-8796-6D4F786290E3}" type="slidenum">
              <a:rPr lang="en-ID" smtClean="0"/>
              <a:t>‹#›</a:t>
            </a:fld>
            <a:endParaRPr lang="en-ID"/>
          </a:p>
        </p:txBody>
      </p:sp>
    </p:spTree>
    <p:extLst>
      <p:ext uri="{BB962C8B-B14F-4D97-AF65-F5344CB8AC3E}">
        <p14:creationId xmlns:p14="http://schemas.microsoft.com/office/powerpoint/2010/main" val="46383384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95A5F5F8-B77E-4D07-8796-6D4F786290E3}" type="slidenum">
              <a:rPr lang="en-ID" smtClean="0"/>
              <a:t>18</a:t>
            </a:fld>
            <a:endParaRPr lang="en-ID"/>
          </a:p>
        </p:txBody>
      </p:sp>
    </p:spTree>
    <p:extLst>
      <p:ext uri="{BB962C8B-B14F-4D97-AF65-F5344CB8AC3E}">
        <p14:creationId xmlns:p14="http://schemas.microsoft.com/office/powerpoint/2010/main" val="36457604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95A5F5F8-B77E-4D07-8796-6D4F786290E3}" type="slidenum">
              <a:rPr lang="en-ID" smtClean="0"/>
              <a:t>19</a:t>
            </a:fld>
            <a:endParaRPr lang="en-ID"/>
          </a:p>
        </p:txBody>
      </p:sp>
    </p:spTree>
    <p:extLst>
      <p:ext uri="{BB962C8B-B14F-4D97-AF65-F5344CB8AC3E}">
        <p14:creationId xmlns:p14="http://schemas.microsoft.com/office/powerpoint/2010/main" val="11590406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5A5F5F8-B77E-4D07-8796-6D4F786290E3}" type="slidenum">
              <a:rPr lang="en-ID" smtClean="0"/>
              <a:t>27</a:t>
            </a:fld>
            <a:endParaRPr lang="en-ID"/>
          </a:p>
        </p:txBody>
      </p:sp>
    </p:spTree>
    <p:extLst>
      <p:ext uri="{BB962C8B-B14F-4D97-AF65-F5344CB8AC3E}">
        <p14:creationId xmlns:p14="http://schemas.microsoft.com/office/powerpoint/2010/main" val="38323697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0CC66C-7A8D-077F-E648-1C767856D0B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7A84FB-3142-508D-847E-58F458025B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21A6FB-A335-C521-C9F5-1EDEAA40B47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F7A59AD-973B-F496-B638-437D97755618}"/>
              </a:ext>
            </a:extLst>
          </p:cNvPr>
          <p:cNvSpPr>
            <a:spLocks noGrp="1"/>
          </p:cNvSpPr>
          <p:nvPr>
            <p:ph type="sldNum" sz="quarter" idx="5"/>
          </p:nvPr>
        </p:nvSpPr>
        <p:spPr/>
        <p:txBody>
          <a:bodyPr/>
          <a:lstStyle/>
          <a:p>
            <a:fld id="{95A5F5F8-B77E-4D07-8796-6D4F786290E3}" type="slidenum">
              <a:rPr lang="en-ID" smtClean="0"/>
              <a:t>28</a:t>
            </a:fld>
            <a:endParaRPr lang="en-ID"/>
          </a:p>
        </p:txBody>
      </p:sp>
    </p:spTree>
    <p:extLst>
      <p:ext uri="{BB962C8B-B14F-4D97-AF65-F5344CB8AC3E}">
        <p14:creationId xmlns:p14="http://schemas.microsoft.com/office/powerpoint/2010/main" val="23467180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500" kern="1200" dirty="0">
              <a:solidFill>
                <a:schemeClr val="tx1"/>
              </a:solidFill>
              <a:latin typeface="+mn-lt"/>
              <a:ea typeface="+mn-ea"/>
              <a:cs typeface="+mn-cs"/>
            </a:endParaRPr>
          </a:p>
        </p:txBody>
      </p:sp>
      <p:sp>
        <p:nvSpPr>
          <p:cNvPr id="4" name="Slide Number Placeholder 3"/>
          <p:cNvSpPr>
            <a:spLocks noGrp="1"/>
          </p:cNvSpPr>
          <p:nvPr>
            <p:ph type="sldNum" sz="quarter" idx="5"/>
          </p:nvPr>
        </p:nvSpPr>
        <p:spPr/>
        <p:txBody>
          <a:bodyPr/>
          <a:lstStyle/>
          <a:p>
            <a:fld id="{95A5F5F8-B77E-4D07-8796-6D4F786290E3}" type="slidenum">
              <a:rPr lang="en-ID" smtClean="0"/>
              <a:t>33</a:t>
            </a:fld>
            <a:endParaRPr lang="en-ID"/>
          </a:p>
        </p:txBody>
      </p:sp>
    </p:spTree>
    <p:extLst>
      <p:ext uri="{BB962C8B-B14F-4D97-AF65-F5344CB8AC3E}">
        <p14:creationId xmlns:p14="http://schemas.microsoft.com/office/powerpoint/2010/main" val="29676492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4.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28.emf"/></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6.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7.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image" Target="../media/image13.svg"/><Relationship Id="rId7" Type="http://schemas.openxmlformats.org/officeDocument/2006/relationships/image" Target="../media/image17.svg"/><Relationship Id="rId12" Type="http://schemas.openxmlformats.org/officeDocument/2006/relationships/image" Target="../media/image22.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image" Target="../media/image15.svg"/><Relationship Id="rId15" Type="http://schemas.openxmlformats.org/officeDocument/2006/relationships/image" Target="../media/image11.sv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svg"/><Relationship Id="rId14" Type="http://schemas.openxmlformats.org/officeDocument/2006/relationships/image" Target="../media/image10.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Portada">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cxnSp>
        <p:nvCxnSpPr>
          <p:cNvPr id="2" name="Conector recto 1">
            <a:extLst>
              <a:ext uri="{FF2B5EF4-FFF2-40B4-BE49-F238E27FC236}">
                <a16:creationId xmlns:a16="http://schemas.microsoft.com/office/drawing/2014/main" id="{55C91E6B-2485-61BC-8620-5481D938932D}"/>
              </a:ext>
            </a:extLst>
          </p:cNvPr>
          <p:cNvCxnSpPr>
            <a:cxnSpLocks/>
          </p:cNvCxnSpPr>
          <p:nvPr userDrawn="1"/>
        </p:nvCxnSpPr>
        <p:spPr>
          <a:xfrm>
            <a:off x="8707945" y="1352940"/>
            <a:ext cx="348405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 name="Conector recto 2">
            <a:extLst>
              <a:ext uri="{FF2B5EF4-FFF2-40B4-BE49-F238E27FC236}">
                <a16:creationId xmlns:a16="http://schemas.microsoft.com/office/drawing/2014/main" id="{DC5A9929-6948-0833-402E-7B29F37B1543}"/>
              </a:ext>
            </a:extLst>
          </p:cNvPr>
          <p:cNvCxnSpPr>
            <a:cxnSpLocks/>
          </p:cNvCxnSpPr>
          <p:nvPr userDrawn="1"/>
        </p:nvCxnSpPr>
        <p:spPr>
          <a:xfrm>
            <a:off x="0" y="1352940"/>
            <a:ext cx="348405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Marcador de texto 9">
            <a:extLst>
              <a:ext uri="{FF2B5EF4-FFF2-40B4-BE49-F238E27FC236}">
                <a16:creationId xmlns:a16="http://schemas.microsoft.com/office/drawing/2014/main" id="{F235F095-2AF4-74EB-ADFF-46AC64DDB663}"/>
              </a:ext>
            </a:extLst>
          </p:cNvPr>
          <p:cNvSpPr>
            <a:spLocks noGrp="1"/>
          </p:cNvSpPr>
          <p:nvPr>
            <p:ph type="body" sz="quarter" idx="10"/>
          </p:nvPr>
        </p:nvSpPr>
        <p:spPr>
          <a:xfrm>
            <a:off x="1966913" y="830141"/>
            <a:ext cx="8543925" cy="913102"/>
          </a:xfrm>
          <a:prstGeom prst="rect">
            <a:avLst/>
          </a:prstGeom>
        </p:spPr>
        <p:txBody>
          <a:bodyPr/>
          <a:lstStyle>
            <a:lvl1pPr marL="0" indent="0" algn="ctr">
              <a:buNone/>
              <a:defRPr sz="2200">
                <a:solidFill>
                  <a:schemeClr val="bg1"/>
                </a:solidFill>
                <a:latin typeface="Poppins" panose="00000500000000000000" pitchFamily="2" charset="0"/>
                <a:cs typeface="Poppins" panose="00000500000000000000" pitchFamily="2" charset="0"/>
              </a:defRPr>
            </a:lvl1pPr>
          </a:lstStyle>
          <a:p>
            <a:pPr lvl="0"/>
            <a:endParaRPr lang="es-MX" dirty="0"/>
          </a:p>
        </p:txBody>
      </p:sp>
      <p:pic>
        <p:nvPicPr>
          <p:cNvPr id="6" name="Gráfico 5">
            <a:extLst>
              <a:ext uri="{FF2B5EF4-FFF2-40B4-BE49-F238E27FC236}">
                <a16:creationId xmlns:a16="http://schemas.microsoft.com/office/drawing/2014/main" id="{1F1D6DBD-B8EA-E986-313F-8593D1B0819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2731" y="4945208"/>
            <a:ext cx="3486539" cy="1621645"/>
          </a:xfrm>
          <a:prstGeom prst="rect">
            <a:avLst/>
          </a:prstGeom>
        </p:spPr>
      </p:pic>
    </p:spTree>
    <p:extLst>
      <p:ext uri="{BB962C8B-B14F-4D97-AF65-F5344CB8AC3E}">
        <p14:creationId xmlns:p14="http://schemas.microsoft.com/office/powerpoint/2010/main" val="37524567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Blank">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3" name="Imagen 2" descr="Texto&#10;&#10;El contenido generado por IA puede ser incorrecto.">
            <a:extLst>
              <a:ext uri="{FF2B5EF4-FFF2-40B4-BE49-F238E27FC236}">
                <a16:creationId xmlns:a16="http://schemas.microsoft.com/office/drawing/2014/main" id="{06E52C4B-FE0E-809B-0CBE-D962FA3EDE9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684740" y="838200"/>
            <a:ext cx="4822520" cy="3352800"/>
          </a:xfrm>
          <a:prstGeom prst="rect">
            <a:avLst/>
          </a:prstGeom>
        </p:spPr>
      </p:pic>
      <p:sp>
        <p:nvSpPr>
          <p:cNvPr id="5" name="Marcador de texto 4">
            <a:extLst>
              <a:ext uri="{FF2B5EF4-FFF2-40B4-BE49-F238E27FC236}">
                <a16:creationId xmlns:a16="http://schemas.microsoft.com/office/drawing/2014/main" id="{B14D111C-E0D3-24D1-881A-CF376ADBAFF5}"/>
              </a:ext>
            </a:extLst>
          </p:cNvPr>
          <p:cNvSpPr>
            <a:spLocks noGrp="1"/>
          </p:cNvSpPr>
          <p:nvPr>
            <p:ph type="body" sz="quarter" idx="10"/>
          </p:nvPr>
        </p:nvSpPr>
        <p:spPr>
          <a:xfrm>
            <a:off x="1752600" y="4716731"/>
            <a:ext cx="8686800" cy="169277"/>
          </a:xfrm>
        </p:spPr>
        <p:txBody>
          <a:bodyPr/>
          <a:lstStyle>
            <a:lvl1pPr algn="ctr">
              <a:defRPr sz="1100" b="0" spc="600">
                <a:solidFill>
                  <a:schemeClr val="bg1"/>
                </a:solidFill>
                <a:latin typeface="Poppins Light" panose="00000400000000000000" pitchFamily="2" charset="0"/>
                <a:cs typeface="Poppins Light" panose="00000400000000000000" pitchFamily="2" charset="0"/>
              </a:defRPr>
            </a:lvl1pPr>
            <a:lvl2pPr algn="ctr">
              <a:defRPr>
                <a:solidFill>
                  <a:schemeClr val="bg1"/>
                </a:solidFill>
                <a:latin typeface="Poppins Light" panose="00000400000000000000" pitchFamily="2" charset="0"/>
                <a:cs typeface="Poppins Light" panose="00000400000000000000" pitchFamily="2" charset="0"/>
              </a:defRPr>
            </a:lvl2pPr>
            <a:lvl3pPr algn="ctr">
              <a:defRPr>
                <a:solidFill>
                  <a:schemeClr val="bg1"/>
                </a:solidFill>
                <a:latin typeface="Poppins Light" panose="00000400000000000000" pitchFamily="2" charset="0"/>
                <a:cs typeface="Poppins Light" panose="00000400000000000000" pitchFamily="2" charset="0"/>
              </a:defRPr>
            </a:lvl3pPr>
            <a:lvl4pPr algn="ctr">
              <a:defRPr>
                <a:solidFill>
                  <a:schemeClr val="bg1"/>
                </a:solidFill>
                <a:latin typeface="Poppins Light" panose="00000400000000000000" pitchFamily="2" charset="0"/>
                <a:cs typeface="Poppins Light" panose="00000400000000000000" pitchFamily="2" charset="0"/>
              </a:defRPr>
            </a:lvl4pPr>
            <a:lvl5pPr algn="ctr">
              <a:defRPr>
                <a:solidFill>
                  <a:schemeClr val="bg1"/>
                </a:solidFill>
                <a:latin typeface="Poppins Light" panose="00000400000000000000" pitchFamily="2" charset="0"/>
                <a:cs typeface="Poppins Light" panose="00000400000000000000" pitchFamily="2" charset="0"/>
              </a:defRPr>
            </a:lvl5pPr>
          </a:lstStyle>
          <a:p>
            <a:pPr lvl="0"/>
            <a:endParaRPr lang="es-ES" dirty="0"/>
          </a:p>
        </p:txBody>
      </p:sp>
    </p:spTree>
    <p:extLst>
      <p:ext uri="{BB962C8B-B14F-4D97-AF65-F5344CB8AC3E}">
        <p14:creationId xmlns:p14="http://schemas.microsoft.com/office/powerpoint/2010/main" val="29838711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589070" y="514174"/>
            <a:ext cx="6187650" cy="430887"/>
          </a:xfrm>
        </p:spPr>
        <p:txBody>
          <a:bodyPr lIns="0" tIns="0" rIns="0" bIns="0"/>
          <a:lstStyle>
            <a:lvl1pPr>
              <a:defRPr sz="2800" b="0" i="0">
                <a:solidFill>
                  <a:srgbClr val="FF3557"/>
                </a:solidFill>
                <a:latin typeface="Poppins SemiBold" panose="00000700000000000000" pitchFamily="2" charset="0"/>
                <a:cs typeface="Poppins SemiBold" panose="00000700000000000000" pitchFamily="2" charset="0"/>
              </a:defRPr>
            </a:lvl1pPr>
          </a:lstStyle>
          <a:p>
            <a:endParaRPr dirty="0"/>
          </a:p>
        </p:txBody>
      </p:sp>
      <p:sp>
        <p:nvSpPr>
          <p:cNvPr id="8" name="Marcador de posición de imagen 7">
            <a:extLst>
              <a:ext uri="{FF2B5EF4-FFF2-40B4-BE49-F238E27FC236}">
                <a16:creationId xmlns:a16="http://schemas.microsoft.com/office/drawing/2014/main" id="{0B00D59C-C6B5-E26A-33B1-C9C8165F603D}"/>
              </a:ext>
            </a:extLst>
          </p:cNvPr>
          <p:cNvSpPr>
            <a:spLocks noGrp="1"/>
          </p:cNvSpPr>
          <p:nvPr>
            <p:ph type="pic" sz="quarter" idx="10"/>
          </p:nvPr>
        </p:nvSpPr>
        <p:spPr>
          <a:xfrm>
            <a:off x="7483543" y="0"/>
            <a:ext cx="4708457" cy="6858000"/>
          </a:xfrm>
        </p:spPr>
        <p:txBody>
          <a:bodyPr/>
          <a:lstStyle/>
          <a:p>
            <a:endParaRPr lang="es-MX"/>
          </a:p>
        </p:txBody>
      </p:sp>
      <p:sp>
        <p:nvSpPr>
          <p:cNvPr id="9" name="Holder 3">
            <a:extLst>
              <a:ext uri="{FF2B5EF4-FFF2-40B4-BE49-F238E27FC236}">
                <a16:creationId xmlns:a16="http://schemas.microsoft.com/office/drawing/2014/main" id="{2210E9CB-20E3-A8A4-FA47-ED5C30340831}"/>
              </a:ext>
            </a:extLst>
          </p:cNvPr>
          <p:cNvSpPr>
            <a:spLocks noGrp="1"/>
          </p:cNvSpPr>
          <p:nvPr>
            <p:ph type="body" idx="11"/>
          </p:nvPr>
        </p:nvSpPr>
        <p:spPr>
          <a:xfrm>
            <a:off x="589070" y="1390265"/>
            <a:ext cx="6187650" cy="344109"/>
          </a:xfrm>
        </p:spPr>
        <p:txBody>
          <a:bodyPr lIns="0" tIns="0" rIns="0" bIns="0"/>
          <a:lstStyle>
            <a:lvl1pPr>
              <a:lnSpc>
                <a:spcPct val="150000"/>
              </a:lnSpc>
              <a:defRPr sz="1400" b="0" i="0">
                <a:solidFill>
                  <a:schemeClr val="tx1"/>
                </a:solidFill>
                <a:latin typeface="Poppins Light" panose="00000400000000000000" pitchFamily="2" charset="0"/>
                <a:cs typeface="Poppins Light" panose="00000400000000000000" pitchFamily="2" charset="0"/>
              </a:defRPr>
            </a:lvl1pPr>
          </a:lstStyle>
          <a:p>
            <a:endParaRPr dirty="0"/>
          </a:p>
        </p:txBody>
      </p:sp>
      <p:sp>
        <p:nvSpPr>
          <p:cNvPr id="10" name="Holder 3">
            <a:extLst>
              <a:ext uri="{FF2B5EF4-FFF2-40B4-BE49-F238E27FC236}">
                <a16:creationId xmlns:a16="http://schemas.microsoft.com/office/drawing/2014/main" id="{011A9D6A-25ED-8692-9C5D-73EFB7655726}"/>
              </a:ext>
            </a:extLst>
          </p:cNvPr>
          <p:cNvSpPr>
            <a:spLocks noGrp="1"/>
          </p:cNvSpPr>
          <p:nvPr>
            <p:ph type="body" idx="12"/>
          </p:nvPr>
        </p:nvSpPr>
        <p:spPr>
          <a:xfrm>
            <a:off x="589070" y="3780380"/>
            <a:ext cx="6187650" cy="344109"/>
          </a:xfrm>
        </p:spPr>
        <p:txBody>
          <a:bodyPr lIns="0" tIns="0" rIns="0" bIns="0"/>
          <a:lstStyle>
            <a:lvl1pPr>
              <a:lnSpc>
                <a:spcPct val="150000"/>
              </a:lnSpc>
              <a:defRPr sz="1400" b="0" i="0">
                <a:solidFill>
                  <a:schemeClr val="tx1"/>
                </a:solidFill>
                <a:latin typeface="Poppins Light" panose="00000400000000000000" pitchFamily="2" charset="0"/>
                <a:cs typeface="Poppins Light" panose="00000400000000000000" pitchFamily="2" charset="0"/>
              </a:defRPr>
            </a:lvl1pPr>
          </a:lstStyle>
          <a:p>
            <a:endParaRPr dirty="0"/>
          </a:p>
        </p:txBody>
      </p:sp>
      <p:pic>
        <p:nvPicPr>
          <p:cNvPr id="16" name="Gráfico 15">
            <a:extLst>
              <a:ext uri="{FF2B5EF4-FFF2-40B4-BE49-F238E27FC236}">
                <a16:creationId xmlns:a16="http://schemas.microsoft.com/office/drawing/2014/main" id="{242A85C9-3EBC-44E3-22FE-45B8DB5F7C3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49000" y="6295463"/>
            <a:ext cx="871398" cy="257737"/>
          </a:xfrm>
          <a:prstGeom prst="rect">
            <a:avLst/>
          </a:prstGeom>
        </p:spPr>
      </p:pic>
      <p:sp>
        <p:nvSpPr>
          <p:cNvPr id="17" name="Holder 4">
            <a:extLst>
              <a:ext uri="{FF2B5EF4-FFF2-40B4-BE49-F238E27FC236}">
                <a16:creationId xmlns:a16="http://schemas.microsoft.com/office/drawing/2014/main" id="{79DF5F09-F476-E804-F92F-9E13DA0BD2F2}"/>
              </a:ext>
            </a:extLst>
          </p:cNvPr>
          <p:cNvSpPr>
            <a:spLocks noGrp="1"/>
          </p:cNvSpPr>
          <p:nvPr>
            <p:ph type="ftr" sz="quarter" idx="5"/>
          </p:nvPr>
        </p:nvSpPr>
        <p:spPr>
          <a:xfrm>
            <a:off x="901764" y="6342549"/>
            <a:ext cx="3342004" cy="167640"/>
          </a:xfrm>
        </p:spPr>
        <p:txBody>
          <a:bodyPr lIns="0" tIns="0" rIns="0" bIns="0"/>
          <a:lstStyle>
            <a:lvl1pPr>
              <a:defRPr sz="800" b="0" i="0">
                <a:solidFill>
                  <a:srgbClr val="585858"/>
                </a:solidFill>
                <a:latin typeface="Poppins"/>
                <a:cs typeface="Poppins"/>
              </a:defRPr>
            </a:lvl1pPr>
          </a:lstStyle>
          <a:p>
            <a:pPr marL="12700">
              <a:lnSpc>
                <a:spcPct val="100000"/>
              </a:lnSpc>
              <a:spcBef>
                <a:spcPts val="140"/>
              </a:spcBef>
            </a:pPr>
            <a:r>
              <a:rPr dirty="0"/>
              <a:t>Programa</a:t>
            </a:r>
            <a:r>
              <a:rPr spc="-15" dirty="0"/>
              <a:t> </a:t>
            </a:r>
            <a:r>
              <a:rPr dirty="0"/>
              <a:t>de</a:t>
            </a:r>
            <a:r>
              <a:rPr spc="-10" dirty="0"/>
              <a:t> </a:t>
            </a:r>
            <a:r>
              <a:rPr dirty="0"/>
              <a:t>Gestión</a:t>
            </a:r>
            <a:r>
              <a:rPr spc="-10" dirty="0"/>
              <a:t> </a:t>
            </a:r>
            <a:r>
              <a:rPr dirty="0"/>
              <a:t>Integral</a:t>
            </a:r>
            <a:r>
              <a:rPr spc="-15" dirty="0"/>
              <a:t> </a:t>
            </a:r>
            <a:r>
              <a:rPr dirty="0"/>
              <a:t>en</a:t>
            </a:r>
            <a:r>
              <a:rPr spc="-10" dirty="0"/>
              <a:t> </a:t>
            </a:r>
            <a:r>
              <a:rPr dirty="0"/>
              <a:t>Propiedades</a:t>
            </a:r>
            <a:r>
              <a:rPr spc="-15" dirty="0"/>
              <a:t> </a:t>
            </a:r>
            <a:r>
              <a:rPr dirty="0"/>
              <a:t>Vacacionales</a:t>
            </a:r>
            <a:r>
              <a:rPr spc="-10" dirty="0"/>
              <a:t> </a:t>
            </a:r>
            <a:r>
              <a:rPr spc="-20" dirty="0"/>
              <a:t>2025</a:t>
            </a:r>
          </a:p>
        </p:txBody>
      </p:sp>
      <p:sp>
        <p:nvSpPr>
          <p:cNvPr id="18" name="Holder 6">
            <a:extLst>
              <a:ext uri="{FF2B5EF4-FFF2-40B4-BE49-F238E27FC236}">
                <a16:creationId xmlns:a16="http://schemas.microsoft.com/office/drawing/2014/main" id="{2A33E9D6-C5C9-3291-1065-B552EFFE1CDD}"/>
              </a:ext>
            </a:extLst>
          </p:cNvPr>
          <p:cNvSpPr>
            <a:spLocks noGrp="1"/>
          </p:cNvSpPr>
          <p:nvPr>
            <p:ph type="sldNum" sz="quarter" idx="7"/>
          </p:nvPr>
        </p:nvSpPr>
        <p:spPr>
          <a:xfrm>
            <a:off x="441750" y="6350596"/>
            <a:ext cx="147320" cy="167640"/>
          </a:xfrm>
        </p:spPr>
        <p:txBody>
          <a:bodyPr lIns="0" tIns="0" rIns="0" bIns="0"/>
          <a:lstStyle>
            <a:lvl1pPr>
              <a:defRPr sz="800" b="0" i="0">
                <a:solidFill>
                  <a:srgbClr val="585858"/>
                </a:solidFill>
                <a:latin typeface="Poppins"/>
                <a:cs typeface="Poppins"/>
              </a:defRPr>
            </a:lvl1pPr>
          </a:lstStyle>
          <a:p>
            <a:pPr marL="38100">
              <a:lnSpc>
                <a:spcPct val="100000"/>
              </a:lnSpc>
              <a:spcBef>
                <a:spcPts val="140"/>
              </a:spcBef>
            </a:pPr>
            <a:fld id="{81D60167-4931-47E6-BA6A-407CBD079E47}" type="slidenum">
              <a:rPr spc="-50" dirty="0"/>
              <a:t>‹#›</a:t>
            </a:fld>
            <a:endParaRPr spc="-50" dirty="0"/>
          </a:p>
        </p:txBody>
      </p:sp>
      <p:cxnSp>
        <p:nvCxnSpPr>
          <p:cNvPr id="22" name="Conector recto 21">
            <a:extLst>
              <a:ext uri="{FF2B5EF4-FFF2-40B4-BE49-F238E27FC236}">
                <a16:creationId xmlns:a16="http://schemas.microsoft.com/office/drawing/2014/main" id="{6D2788EC-1747-8A33-AF1C-1AB90FED4DDE}"/>
              </a:ext>
            </a:extLst>
          </p:cNvPr>
          <p:cNvCxnSpPr>
            <a:cxnSpLocks/>
          </p:cNvCxnSpPr>
          <p:nvPr userDrawn="1"/>
        </p:nvCxnSpPr>
        <p:spPr>
          <a:xfrm flipH="1">
            <a:off x="0" y="692729"/>
            <a:ext cx="457200" cy="0"/>
          </a:xfrm>
          <a:prstGeom prst="line">
            <a:avLst/>
          </a:prstGeom>
          <a:ln w="38100" cap="rnd">
            <a:solidFill>
              <a:srgbClr val="2B28B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72569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93407B19-2470-8225-721D-9D48852D2291}"/>
              </a:ext>
            </a:extLst>
          </p:cNvPr>
          <p:cNvSpPr>
            <a:spLocks noGrp="1"/>
          </p:cNvSpPr>
          <p:nvPr>
            <p:ph type="body" sz="quarter" idx="10"/>
          </p:nvPr>
        </p:nvSpPr>
        <p:spPr>
          <a:xfrm>
            <a:off x="550862" y="613507"/>
            <a:ext cx="11090275" cy="369332"/>
          </a:xfrm>
        </p:spPr>
        <p:txBody>
          <a:bodyPr lIns="0" tIns="0" rIns="0" bIns="0" anchor="b">
            <a:noAutofit/>
          </a:bodyPr>
          <a:lstStyle>
            <a:lvl1pPr marL="0" indent="0">
              <a:lnSpc>
                <a:spcPct val="100000"/>
              </a:lnSpc>
              <a:spcBef>
                <a:spcPts val="0"/>
              </a:spcBef>
              <a:buNone/>
              <a:defRPr sz="2800" b="1">
                <a:solidFill>
                  <a:schemeClr val="tx2"/>
                </a:solidFill>
                <a:latin typeface="+mj-lt"/>
              </a:defRPr>
            </a:lvl1pPr>
          </a:lstStyle>
          <a:p>
            <a:pPr lvl="0"/>
            <a:r>
              <a:rPr lang="en-US"/>
              <a:t>Click to edit Master text style</a:t>
            </a:r>
          </a:p>
        </p:txBody>
      </p:sp>
      <p:sp>
        <p:nvSpPr>
          <p:cNvPr id="12" name="Slide Number Placeholder 5">
            <a:extLst>
              <a:ext uri="{FF2B5EF4-FFF2-40B4-BE49-F238E27FC236}">
                <a16:creationId xmlns:a16="http://schemas.microsoft.com/office/drawing/2014/main" id="{E399722A-98DF-32E8-5755-E851D0C5DF4D}"/>
              </a:ext>
            </a:extLst>
          </p:cNvPr>
          <p:cNvSpPr>
            <a:spLocks noGrp="1"/>
          </p:cNvSpPr>
          <p:nvPr>
            <p:ph type="sldNum" sz="quarter" idx="4"/>
          </p:nvPr>
        </p:nvSpPr>
        <p:spPr>
          <a:xfrm>
            <a:off x="11087100" y="6564440"/>
            <a:ext cx="554038" cy="138499"/>
          </a:xfrm>
          <a:prstGeom prst="rect">
            <a:avLst/>
          </a:prstGeom>
        </p:spPr>
        <p:txBody>
          <a:bodyPr wrap="square" lIns="0" tIns="0" rIns="0" bIns="0" anchor="ctr">
            <a:normAutofit/>
          </a:bodyPr>
          <a:lstStyle>
            <a:lvl1pPr algn="r">
              <a:defRPr sz="900">
                <a:solidFill>
                  <a:schemeClr val="tx1"/>
                </a:solidFill>
              </a:defRPr>
            </a:lvl1pPr>
          </a:lstStyle>
          <a:p>
            <a:fld id="{0E88EC54-15BE-9740-A323-DA3E96F2F863}" type="slidenum">
              <a:rPr lang="en-US" smtClean="0"/>
              <a:pPr/>
              <a:t>‹#›</a:t>
            </a:fld>
            <a:endParaRPr lang="en-US"/>
          </a:p>
        </p:txBody>
      </p:sp>
      <p:pic>
        <p:nvPicPr>
          <p:cNvPr id="5" name="Graphic 4">
            <a:extLst>
              <a:ext uri="{FF2B5EF4-FFF2-40B4-BE49-F238E27FC236}">
                <a16:creationId xmlns:a16="http://schemas.microsoft.com/office/drawing/2014/main" id="{C762D1A5-F79E-AB2D-D4C3-8F925231720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95317" y="-62632"/>
            <a:ext cx="1584960" cy="894079"/>
          </a:xfrm>
          <a:prstGeom prst="rect">
            <a:avLst/>
          </a:prstGeom>
        </p:spPr>
      </p:pic>
    </p:spTree>
    <p:extLst>
      <p:ext uri="{BB962C8B-B14F-4D97-AF65-F5344CB8AC3E}">
        <p14:creationId xmlns:p14="http://schemas.microsoft.com/office/powerpoint/2010/main" val="39883072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with subtitle">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93407B19-2470-8225-721D-9D48852D2291}"/>
              </a:ext>
            </a:extLst>
          </p:cNvPr>
          <p:cNvSpPr>
            <a:spLocks noGrp="1"/>
          </p:cNvSpPr>
          <p:nvPr>
            <p:ph type="body" sz="quarter" idx="10"/>
          </p:nvPr>
        </p:nvSpPr>
        <p:spPr>
          <a:xfrm>
            <a:off x="550862" y="613507"/>
            <a:ext cx="11090275" cy="369332"/>
          </a:xfrm>
        </p:spPr>
        <p:txBody>
          <a:bodyPr lIns="0" tIns="0" rIns="0" bIns="0" anchor="b">
            <a:noAutofit/>
          </a:bodyPr>
          <a:lstStyle>
            <a:lvl1pPr marL="0" indent="0">
              <a:lnSpc>
                <a:spcPct val="100000"/>
              </a:lnSpc>
              <a:spcBef>
                <a:spcPts val="0"/>
              </a:spcBef>
              <a:buNone/>
              <a:defRPr sz="2800" b="1">
                <a:solidFill>
                  <a:schemeClr val="tx2"/>
                </a:solidFill>
                <a:latin typeface="+mj-lt"/>
              </a:defRPr>
            </a:lvl1pPr>
          </a:lstStyle>
          <a:p>
            <a:pPr lvl="0"/>
            <a:r>
              <a:rPr lang="en-US"/>
              <a:t>Click to edit Master text style</a:t>
            </a:r>
          </a:p>
        </p:txBody>
      </p:sp>
      <p:sp>
        <p:nvSpPr>
          <p:cNvPr id="8" name="Text Placeholder 2">
            <a:extLst>
              <a:ext uri="{FF2B5EF4-FFF2-40B4-BE49-F238E27FC236}">
                <a16:creationId xmlns:a16="http://schemas.microsoft.com/office/drawing/2014/main" id="{4F1B296A-A77C-AC48-4D47-128AA9FC6AF6}"/>
              </a:ext>
            </a:extLst>
          </p:cNvPr>
          <p:cNvSpPr>
            <a:spLocks noGrp="1"/>
          </p:cNvSpPr>
          <p:nvPr>
            <p:ph type="body" sz="quarter" idx="11" hasCustomPrompt="1"/>
          </p:nvPr>
        </p:nvSpPr>
        <p:spPr>
          <a:xfrm>
            <a:off x="550862" y="1116917"/>
            <a:ext cx="11090275" cy="246221"/>
          </a:xfrm>
        </p:spPr>
        <p:txBody>
          <a:bodyPr lIns="0" tIns="0" rIns="0" bIns="0" anchor="t">
            <a:noAutofit/>
          </a:bodyPr>
          <a:lstStyle>
            <a:lvl1pPr marL="0" indent="0">
              <a:lnSpc>
                <a:spcPct val="100000"/>
              </a:lnSpc>
              <a:spcBef>
                <a:spcPts val="0"/>
              </a:spcBef>
              <a:buNone/>
              <a:defRPr sz="1800" b="0">
                <a:solidFill>
                  <a:schemeClr val="tx2"/>
                </a:solidFill>
              </a:defRPr>
            </a:lvl1pPr>
          </a:lstStyle>
          <a:p>
            <a:pPr lvl="0"/>
            <a:r>
              <a:rPr lang="en-US"/>
              <a:t>Subtitle</a:t>
            </a:r>
          </a:p>
        </p:txBody>
      </p:sp>
      <p:sp>
        <p:nvSpPr>
          <p:cNvPr id="12" name="Slide Number Placeholder 5">
            <a:extLst>
              <a:ext uri="{FF2B5EF4-FFF2-40B4-BE49-F238E27FC236}">
                <a16:creationId xmlns:a16="http://schemas.microsoft.com/office/drawing/2014/main" id="{E399722A-98DF-32E8-5755-E851D0C5DF4D}"/>
              </a:ext>
            </a:extLst>
          </p:cNvPr>
          <p:cNvSpPr>
            <a:spLocks noGrp="1"/>
          </p:cNvSpPr>
          <p:nvPr>
            <p:ph type="sldNum" sz="quarter" idx="4"/>
          </p:nvPr>
        </p:nvSpPr>
        <p:spPr>
          <a:xfrm>
            <a:off x="11087100" y="6564440"/>
            <a:ext cx="554038" cy="138499"/>
          </a:xfrm>
          <a:prstGeom prst="rect">
            <a:avLst/>
          </a:prstGeom>
        </p:spPr>
        <p:txBody>
          <a:bodyPr wrap="square" lIns="0" tIns="0" rIns="0" bIns="0" anchor="ctr">
            <a:normAutofit/>
          </a:bodyPr>
          <a:lstStyle>
            <a:lvl1pPr algn="r">
              <a:defRPr sz="900">
                <a:solidFill>
                  <a:schemeClr val="tx1"/>
                </a:solidFill>
              </a:defRPr>
            </a:lvl1pPr>
          </a:lstStyle>
          <a:p>
            <a:fld id="{0E88EC54-15BE-9740-A323-DA3E96F2F863}" type="slidenum">
              <a:rPr lang="en-US" smtClean="0"/>
              <a:pPr/>
              <a:t>‹#›</a:t>
            </a:fld>
            <a:endParaRPr lang="en-US"/>
          </a:p>
        </p:txBody>
      </p:sp>
      <p:pic>
        <p:nvPicPr>
          <p:cNvPr id="3" name="Graphic 2">
            <a:extLst>
              <a:ext uri="{FF2B5EF4-FFF2-40B4-BE49-F238E27FC236}">
                <a16:creationId xmlns:a16="http://schemas.microsoft.com/office/drawing/2014/main" id="{85B703CB-1F9D-74BC-AE2D-C22C65E713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95317" y="-62632"/>
            <a:ext cx="1584960" cy="894079"/>
          </a:xfrm>
          <a:prstGeom prst="rect">
            <a:avLst/>
          </a:prstGeom>
        </p:spPr>
      </p:pic>
    </p:spTree>
    <p:extLst>
      <p:ext uri="{BB962C8B-B14F-4D97-AF65-F5344CB8AC3E}">
        <p14:creationId xmlns:p14="http://schemas.microsoft.com/office/powerpoint/2010/main" val="2956813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with single column">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93407B19-2470-8225-721D-9D48852D2291}"/>
              </a:ext>
            </a:extLst>
          </p:cNvPr>
          <p:cNvSpPr>
            <a:spLocks noGrp="1"/>
          </p:cNvSpPr>
          <p:nvPr>
            <p:ph type="body" sz="quarter" idx="10" hasCustomPrompt="1"/>
          </p:nvPr>
        </p:nvSpPr>
        <p:spPr>
          <a:xfrm>
            <a:off x="550862" y="613507"/>
            <a:ext cx="11090275" cy="369332"/>
          </a:xfrm>
        </p:spPr>
        <p:txBody>
          <a:bodyPr lIns="0" tIns="0" rIns="0" bIns="0" anchor="b">
            <a:noAutofit/>
          </a:bodyPr>
          <a:lstStyle>
            <a:lvl1pPr marL="0" indent="0">
              <a:lnSpc>
                <a:spcPct val="100000"/>
              </a:lnSpc>
              <a:spcBef>
                <a:spcPts val="0"/>
              </a:spcBef>
              <a:buNone/>
              <a:defRPr sz="2800" b="1">
                <a:solidFill>
                  <a:schemeClr val="tx2"/>
                </a:solidFill>
                <a:latin typeface="+mj-lt"/>
              </a:defRPr>
            </a:lvl1pPr>
          </a:lstStyle>
          <a:p>
            <a:pPr lvl="0"/>
            <a:r>
              <a:rPr lang="en-US"/>
              <a:t>Title with single column content</a:t>
            </a:r>
          </a:p>
        </p:txBody>
      </p:sp>
      <p:sp>
        <p:nvSpPr>
          <p:cNvPr id="8" name="Text Placeholder 2">
            <a:extLst>
              <a:ext uri="{FF2B5EF4-FFF2-40B4-BE49-F238E27FC236}">
                <a16:creationId xmlns:a16="http://schemas.microsoft.com/office/drawing/2014/main" id="{4F1B296A-A77C-AC48-4D47-128AA9FC6AF6}"/>
              </a:ext>
            </a:extLst>
          </p:cNvPr>
          <p:cNvSpPr>
            <a:spLocks noGrp="1"/>
          </p:cNvSpPr>
          <p:nvPr>
            <p:ph type="body" sz="quarter" idx="11" hasCustomPrompt="1"/>
          </p:nvPr>
        </p:nvSpPr>
        <p:spPr>
          <a:xfrm>
            <a:off x="550862" y="1116917"/>
            <a:ext cx="11090275" cy="246221"/>
          </a:xfrm>
        </p:spPr>
        <p:txBody>
          <a:bodyPr lIns="0" tIns="0" rIns="0" bIns="0" anchor="t">
            <a:noAutofit/>
          </a:bodyPr>
          <a:lstStyle>
            <a:lvl1pPr marL="0" indent="0">
              <a:lnSpc>
                <a:spcPct val="100000"/>
              </a:lnSpc>
              <a:spcBef>
                <a:spcPts val="0"/>
              </a:spcBef>
              <a:buNone/>
              <a:defRPr sz="1800" b="0">
                <a:solidFill>
                  <a:schemeClr val="tx2"/>
                </a:solidFill>
              </a:defRPr>
            </a:lvl1pPr>
          </a:lstStyle>
          <a:p>
            <a:pPr lvl="0"/>
            <a:r>
              <a:rPr lang="en-US"/>
              <a:t>Subtitle</a:t>
            </a:r>
          </a:p>
        </p:txBody>
      </p:sp>
      <p:sp>
        <p:nvSpPr>
          <p:cNvPr id="12" name="Slide Number Placeholder 5">
            <a:extLst>
              <a:ext uri="{FF2B5EF4-FFF2-40B4-BE49-F238E27FC236}">
                <a16:creationId xmlns:a16="http://schemas.microsoft.com/office/drawing/2014/main" id="{E399722A-98DF-32E8-5755-E851D0C5DF4D}"/>
              </a:ext>
            </a:extLst>
          </p:cNvPr>
          <p:cNvSpPr>
            <a:spLocks noGrp="1"/>
          </p:cNvSpPr>
          <p:nvPr>
            <p:ph type="sldNum" sz="quarter" idx="4"/>
          </p:nvPr>
        </p:nvSpPr>
        <p:spPr>
          <a:xfrm>
            <a:off x="11087100" y="6564440"/>
            <a:ext cx="554038" cy="138499"/>
          </a:xfrm>
          <a:prstGeom prst="rect">
            <a:avLst/>
          </a:prstGeom>
        </p:spPr>
        <p:txBody>
          <a:bodyPr wrap="square" lIns="0" tIns="0" rIns="0" bIns="0" anchor="ctr">
            <a:normAutofit/>
          </a:bodyPr>
          <a:lstStyle>
            <a:lvl1pPr algn="r">
              <a:defRPr sz="900">
                <a:solidFill>
                  <a:schemeClr val="tx1"/>
                </a:solidFill>
              </a:defRPr>
            </a:lvl1pPr>
          </a:lstStyle>
          <a:p>
            <a:fld id="{0E88EC54-15BE-9740-A323-DA3E96F2F863}" type="slidenum">
              <a:rPr lang="en-US" smtClean="0"/>
              <a:pPr/>
              <a:t>‹#›</a:t>
            </a:fld>
            <a:endParaRPr lang="en-US"/>
          </a:p>
        </p:txBody>
      </p:sp>
      <p:pic>
        <p:nvPicPr>
          <p:cNvPr id="3" name="Graphic 2">
            <a:extLst>
              <a:ext uri="{FF2B5EF4-FFF2-40B4-BE49-F238E27FC236}">
                <a16:creationId xmlns:a16="http://schemas.microsoft.com/office/drawing/2014/main" id="{85B703CB-1F9D-74BC-AE2D-C22C65E713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95317" y="-62632"/>
            <a:ext cx="1584960" cy="894079"/>
          </a:xfrm>
          <a:prstGeom prst="rect">
            <a:avLst/>
          </a:prstGeom>
        </p:spPr>
      </p:pic>
      <p:sp>
        <p:nvSpPr>
          <p:cNvPr id="2" name="Text Placeholder 68">
            <a:extLst>
              <a:ext uri="{FF2B5EF4-FFF2-40B4-BE49-F238E27FC236}">
                <a16:creationId xmlns:a16="http://schemas.microsoft.com/office/drawing/2014/main" id="{640A27BE-7F3B-A1AF-2AFB-75E812785BDD}"/>
              </a:ext>
            </a:extLst>
          </p:cNvPr>
          <p:cNvSpPr>
            <a:spLocks noGrp="1"/>
          </p:cNvSpPr>
          <p:nvPr>
            <p:ph type="body" sz="quarter" idx="13" hasCustomPrompt="1"/>
          </p:nvPr>
        </p:nvSpPr>
        <p:spPr>
          <a:xfrm>
            <a:off x="550860" y="1968500"/>
            <a:ext cx="11090275" cy="4275993"/>
          </a:xfrm>
        </p:spPr>
        <p:txBody>
          <a:bodyPr wrap="square" lIns="0" tIns="0" rIns="0" bIns="0" anchor="t">
            <a:normAutofit/>
          </a:bodyPr>
          <a:lstStyle>
            <a:lvl1pPr marL="0" indent="0">
              <a:lnSpc>
                <a:spcPct val="100000"/>
              </a:lnSpc>
              <a:spcBef>
                <a:spcPts val="0"/>
              </a:spcBef>
              <a:buNone/>
              <a:defRPr sz="1400" b="0">
                <a:solidFill>
                  <a:schemeClr val="tx1"/>
                </a:solidFill>
                <a:latin typeface="+mn-lt"/>
              </a:defRPr>
            </a:lvl1pPr>
          </a:lstStyle>
          <a:p>
            <a:pPr lvl="0"/>
            <a:r>
              <a:rPr lang="en-US"/>
              <a:t>Click to add text</a:t>
            </a:r>
          </a:p>
        </p:txBody>
      </p:sp>
    </p:spTree>
    <p:extLst>
      <p:ext uri="{BB962C8B-B14F-4D97-AF65-F5344CB8AC3E}">
        <p14:creationId xmlns:p14="http://schemas.microsoft.com/office/powerpoint/2010/main" val="23855105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with subtitl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00CECF2-C802-7CEA-4FB5-8EFBB72E873F}"/>
              </a:ext>
            </a:extLst>
          </p:cNvPr>
          <p:cNvGraphicFramePr>
            <a:graphicFrameLocks noChangeAspect="1"/>
          </p:cNvGraphicFramePr>
          <p:nvPr userDrawn="1">
            <p:custDataLst>
              <p:tags r:id="rId1"/>
            </p:custDataLst>
            <p:extLst>
              <p:ext uri="{D42A27DB-BD31-4B8C-83A1-F6EECF244321}">
                <p14:modId xmlns:p14="http://schemas.microsoft.com/office/powerpoint/2010/main" val="809304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4" name="think-cell data - do not delete" hidden="1">
                        <a:extLst>
                          <a:ext uri="{FF2B5EF4-FFF2-40B4-BE49-F238E27FC236}">
                            <a16:creationId xmlns:a16="http://schemas.microsoft.com/office/drawing/2014/main" id="{400CECF2-C802-7CEA-4FB5-8EFBB72E87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reeform: Shape 1">
            <a:extLst>
              <a:ext uri="{FF2B5EF4-FFF2-40B4-BE49-F238E27FC236}">
                <a16:creationId xmlns:a16="http://schemas.microsoft.com/office/drawing/2014/main" id="{4A08AAF7-E889-F37D-9D68-415574B46FED}"/>
              </a:ext>
            </a:extLst>
          </p:cNvPr>
          <p:cNvSpPr/>
          <p:nvPr userDrawn="1"/>
        </p:nvSpPr>
        <p:spPr>
          <a:xfrm>
            <a:off x="7010400" y="315"/>
            <a:ext cx="5181602" cy="6857685"/>
          </a:xfrm>
          <a:custGeom>
            <a:avLst/>
            <a:gdLst>
              <a:gd name="connsiteX0" fmla="*/ 0 w 5181602"/>
              <a:gd name="connsiteY0" fmla="*/ 5184339 h 6857685"/>
              <a:gd name="connsiteX1" fmla="*/ 5181602 w 5181602"/>
              <a:gd name="connsiteY1" fmla="*/ 5184339 h 6857685"/>
              <a:gd name="connsiteX2" fmla="*/ 5181602 w 5181602"/>
              <a:gd name="connsiteY2" fmla="*/ 6857685 h 6857685"/>
              <a:gd name="connsiteX3" fmla="*/ 0 w 5181602"/>
              <a:gd name="connsiteY3" fmla="*/ 6857685 h 6857685"/>
              <a:gd name="connsiteX4" fmla="*/ 4650365 w 5181602"/>
              <a:gd name="connsiteY4" fmla="*/ 505489 h 6857685"/>
              <a:gd name="connsiteX5" fmla="*/ 4658734 w 5181602"/>
              <a:gd name="connsiteY5" fmla="*/ 530842 h 6857685"/>
              <a:gd name="connsiteX6" fmla="*/ 4641996 w 5181602"/>
              <a:gd name="connsiteY6" fmla="*/ 530842 h 6857685"/>
              <a:gd name="connsiteX7" fmla="*/ 4372046 w 5181602"/>
              <a:gd name="connsiteY7" fmla="*/ 505489 h 6857685"/>
              <a:gd name="connsiteX8" fmla="*/ 4380415 w 5181602"/>
              <a:gd name="connsiteY8" fmla="*/ 530842 h 6857685"/>
              <a:gd name="connsiteX9" fmla="*/ 4363677 w 5181602"/>
              <a:gd name="connsiteY9" fmla="*/ 530842 h 6857685"/>
              <a:gd name="connsiteX10" fmla="*/ 4237870 w 5181602"/>
              <a:gd name="connsiteY10" fmla="*/ 502804 h 6857685"/>
              <a:gd name="connsiteX11" fmla="*/ 4250270 w 5181602"/>
              <a:gd name="connsiteY11" fmla="*/ 502804 h 6857685"/>
              <a:gd name="connsiteX12" fmla="*/ 4256103 w 5181602"/>
              <a:gd name="connsiteY12" fmla="*/ 505463 h 6857685"/>
              <a:gd name="connsiteX13" fmla="*/ 4258538 w 5181602"/>
              <a:gd name="connsiteY13" fmla="*/ 511947 h 6857685"/>
              <a:gd name="connsiteX14" fmla="*/ 4256103 w 5181602"/>
              <a:gd name="connsiteY14" fmla="*/ 518457 h 6857685"/>
              <a:gd name="connsiteX15" fmla="*/ 4250270 w 5181602"/>
              <a:gd name="connsiteY15" fmla="*/ 521167 h 6857685"/>
              <a:gd name="connsiteX16" fmla="*/ 4237870 w 5181602"/>
              <a:gd name="connsiteY16" fmla="*/ 521167 h 6857685"/>
              <a:gd name="connsiteX17" fmla="*/ 4517507 w 5181602"/>
              <a:gd name="connsiteY17" fmla="*/ 502019 h 6857685"/>
              <a:gd name="connsiteX18" fmla="*/ 4531556 w 5181602"/>
              <a:gd name="connsiteY18" fmla="*/ 507794 h 6857685"/>
              <a:gd name="connsiteX19" fmla="*/ 4537236 w 5181602"/>
              <a:gd name="connsiteY19" fmla="*/ 522408 h 6857685"/>
              <a:gd name="connsiteX20" fmla="*/ 4531556 w 5181602"/>
              <a:gd name="connsiteY20" fmla="*/ 536997 h 6857685"/>
              <a:gd name="connsiteX21" fmla="*/ 4517507 w 5181602"/>
              <a:gd name="connsiteY21" fmla="*/ 542721 h 6857685"/>
              <a:gd name="connsiteX22" fmla="*/ 4503458 w 5181602"/>
              <a:gd name="connsiteY22" fmla="*/ 536997 h 6857685"/>
              <a:gd name="connsiteX23" fmla="*/ 4497777 w 5181602"/>
              <a:gd name="connsiteY23" fmla="*/ 522408 h 6857685"/>
              <a:gd name="connsiteX24" fmla="*/ 4503458 w 5181602"/>
              <a:gd name="connsiteY24" fmla="*/ 507794 h 6857685"/>
              <a:gd name="connsiteX25" fmla="*/ 4517507 w 5181602"/>
              <a:gd name="connsiteY25" fmla="*/ 502019 h 6857685"/>
              <a:gd name="connsiteX26" fmla="*/ 4690432 w 5181602"/>
              <a:gd name="connsiteY26" fmla="*/ 491381 h 6857685"/>
              <a:gd name="connsiteX27" fmla="*/ 4690432 w 5181602"/>
              <a:gd name="connsiteY27" fmla="*/ 553435 h 6857685"/>
              <a:gd name="connsiteX28" fmla="*/ 4725758 w 5181602"/>
              <a:gd name="connsiteY28" fmla="*/ 553435 h 6857685"/>
              <a:gd name="connsiteX29" fmla="*/ 4725758 w 5181602"/>
              <a:gd name="connsiteY29" fmla="*/ 541733 h 6857685"/>
              <a:gd name="connsiteX30" fmla="*/ 4702478 w 5181602"/>
              <a:gd name="connsiteY30" fmla="*/ 541733 h 6857685"/>
              <a:gd name="connsiteX31" fmla="*/ 4702478 w 5181602"/>
              <a:gd name="connsiteY31" fmla="*/ 491381 h 6857685"/>
              <a:gd name="connsiteX32" fmla="*/ 4642884 w 5181602"/>
              <a:gd name="connsiteY32" fmla="*/ 491381 h 6857685"/>
              <a:gd name="connsiteX33" fmla="*/ 4621506 w 5181602"/>
              <a:gd name="connsiteY33" fmla="*/ 553435 h 6857685"/>
              <a:gd name="connsiteX34" fmla="*/ 4634515 w 5181602"/>
              <a:gd name="connsiteY34" fmla="*/ 553435 h 6857685"/>
              <a:gd name="connsiteX35" fmla="*/ 4638167 w 5181602"/>
              <a:gd name="connsiteY35" fmla="*/ 542265 h 6857685"/>
              <a:gd name="connsiteX36" fmla="*/ 4662512 w 5181602"/>
              <a:gd name="connsiteY36" fmla="*/ 542265 h 6857685"/>
              <a:gd name="connsiteX37" fmla="*/ 4666189 w 5181602"/>
              <a:gd name="connsiteY37" fmla="*/ 553435 h 6857685"/>
              <a:gd name="connsiteX38" fmla="*/ 4679275 w 5181602"/>
              <a:gd name="connsiteY38" fmla="*/ 553435 h 6857685"/>
              <a:gd name="connsiteX39" fmla="*/ 4657821 w 5181602"/>
              <a:gd name="connsiteY39" fmla="*/ 491381 h 6857685"/>
              <a:gd name="connsiteX40" fmla="*/ 4562951 w 5181602"/>
              <a:gd name="connsiteY40" fmla="*/ 491381 h 6857685"/>
              <a:gd name="connsiteX41" fmla="*/ 4562951 w 5181602"/>
              <a:gd name="connsiteY41" fmla="*/ 553435 h 6857685"/>
              <a:gd name="connsiteX42" fmla="*/ 4574997 w 5181602"/>
              <a:gd name="connsiteY42" fmla="*/ 553435 h 6857685"/>
              <a:gd name="connsiteX43" fmla="*/ 4574997 w 5181602"/>
              <a:gd name="connsiteY43" fmla="*/ 515493 h 6857685"/>
              <a:gd name="connsiteX44" fmla="*/ 4601167 w 5181602"/>
              <a:gd name="connsiteY44" fmla="*/ 553435 h 6857685"/>
              <a:gd name="connsiteX45" fmla="*/ 4610348 w 5181602"/>
              <a:gd name="connsiteY45" fmla="*/ 553435 h 6857685"/>
              <a:gd name="connsiteX46" fmla="*/ 4610348 w 5181602"/>
              <a:gd name="connsiteY46" fmla="*/ 491381 h 6857685"/>
              <a:gd name="connsiteX47" fmla="*/ 4598302 w 5181602"/>
              <a:gd name="connsiteY47" fmla="*/ 491381 h 6857685"/>
              <a:gd name="connsiteX48" fmla="*/ 4598302 w 5181602"/>
              <a:gd name="connsiteY48" fmla="*/ 529246 h 6857685"/>
              <a:gd name="connsiteX49" fmla="*/ 4572131 w 5181602"/>
              <a:gd name="connsiteY49" fmla="*/ 491381 h 6857685"/>
              <a:gd name="connsiteX50" fmla="*/ 4460017 w 5181602"/>
              <a:gd name="connsiteY50" fmla="*/ 491381 h 6857685"/>
              <a:gd name="connsiteX51" fmla="*/ 4460017 w 5181602"/>
              <a:gd name="connsiteY51" fmla="*/ 553435 h 6857685"/>
              <a:gd name="connsiteX52" fmla="*/ 4472063 w 5181602"/>
              <a:gd name="connsiteY52" fmla="*/ 553435 h 6857685"/>
              <a:gd name="connsiteX53" fmla="*/ 4472063 w 5181602"/>
              <a:gd name="connsiteY53" fmla="*/ 491381 h 6857685"/>
              <a:gd name="connsiteX54" fmla="*/ 4403111 w 5181602"/>
              <a:gd name="connsiteY54" fmla="*/ 491381 h 6857685"/>
              <a:gd name="connsiteX55" fmla="*/ 4403111 w 5181602"/>
              <a:gd name="connsiteY55" fmla="*/ 503083 h 6857685"/>
              <a:gd name="connsiteX56" fmla="*/ 4419518 w 5181602"/>
              <a:gd name="connsiteY56" fmla="*/ 503083 h 6857685"/>
              <a:gd name="connsiteX57" fmla="*/ 4419518 w 5181602"/>
              <a:gd name="connsiteY57" fmla="*/ 553435 h 6857685"/>
              <a:gd name="connsiteX58" fmla="*/ 4431564 w 5181602"/>
              <a:gd name="connsiteY58" fmla="*/ 553435 h 6857685"/>
              <a:gd name="connsiteX59" fmla="*/ 4431564 w 5181602"/>
              <a:gd name="connsiteY59" fmla="*/ 503083 h 6857685"/>
              <a:gd name="connsiteX60" fmla="*/ 4448048 w 5181602"/>
              <a:gd name="connsiteY60" fmla="*/ 503083 h 6857685"/>
              <a:gd name="connsiteX61" fmla="*/ 4448048 w 5181602"/>
              <a:gd name="connsiteY61" fmla="*/ 491381 h 6857685"/>
              <a:gd name="connsiteX62" fmla="*/ 4364565 w 5181602"/>
              <a:gd name="connsiteY62" fmla="*/ 491381 h 6857685"/>
              <a:gd name="connsiteX63" fmla="*/ 4343187 w 5181602"/>
              <a:gd name="connsiteY63" fmla="*/ 553435 h 6857685"/>
              <a:gd name="connsiteX64" fmla="*/ 4356196 w 5181602"/>
              <a:gd name="connsiteY64" fmla="*/ 553435 h 6857685"/>
              <a:gd name="connsiteX65" fmla="*/ 4359873 w 5181602"/>
              <a:gd name="connsiteY65" fmla="*/ 542265 h 6857685"/>
              <a:gd name="connsiteX66" fmla="*/ 4384218 w 5181602"/>
              <a:gd name="connsiteY66" fmla="*/ 542265 h 6857685"/>
              <a:gd name="connsiteX67" fmla="*/ 4387870 w 5181602"/>
              <a:gd name="connsiteY67" fmla="*/ 553435 h 6857685"/>
              <a:gd name="connsiteX68" fmla="*/ 4400956 w 5181602"/>
              <a:gd name="connsiteY68" fmla="*/ 553435 h 6857685"/>
              <a:gd name="connsiteX69" fmla="*/ 4379502 w 5181602"/>
              <a:gd name="connsiteY69" fmla="*/ 491381 h 6857685"/>
              <a:gd name="connsiteX70" fmla="*/ 4284632 w 5181602"/>
              <a:gd name="connsiteY70" fmla="*/ 491381 h 6857685"/>
              <a:gd name="connsiteX71" fmla="*/ 4284632 w 5181602"/>
              <a:gd name="connsiteY71" fmla="*/ 553435 h 6857685"/>
              <a:gd name="connsiteX72" fmla="*/ 4296678 w 5181602"/>
              <a:gd name="connsiteY72" fmla="*/ 553435 h 6857685"/>
              <a:gd name="connsiteX73" fmla="*/ 4296678 w 5181602"/>
              <a:gd name="connsiteY73" fmla="*/ 515493 h 6857685"/>
              <a:gd name="connsiteX74" fmla="*/ 4322848 w 5181602"/>
              <a:gd name="connsiteY74" fmla="*/ 553435 h 6857685"/>
              <a:gd name="connsiteX75" fmla="*/ 4332003 w 5181602"/>
              <a:gd name="connsiteY75" fmla="*/ 553435 h 6857685"/>
              <a:gd name="connsiteX76" fmla="*/ 4332003 w 5181602"/>
              <a:gd name="connsiteY76" fmla="*/ 491381 h 6857685"/>
              <a:gd name="connsiteX77" fmla="*/ 4319983 w 5181602"/>
              <a:gd name="connsiteY77" fmla="*/ 491381 h 6857685"/>
              <a:gd name="connsiteX78" fmla="*/ 4319983 w 5181602"/>
              <a:gd name="connsiteY78" fmla="*/ 529246 h 6857685"/>
              <a:gd name="connsiteX79" fmla="*/ 4293787 w 5181602"/>
              <a:gd name="connsiteY79" fmla="*/ 491381 h 6857685"/>
              <a:gd name="connsiteX80" fmla="*/ 4225824 w 5181602"/>
              <a:gd name="connsiteY80" fmla="*/ 491381 h 6857685"/>
              <a:gd name="connsiteX81" fmla="*/ 4225824 w 5181602"/>
              <a:gd name="connsiteY81" fmla="*/ 553435 h 6857685"/>
              <a:gd name="connsiteX82" fmla="*/ 4237870 w 5181602"/>
              <a:gd name="connsiteY82" fmla="*/ 553435 h 6857685"/>
              <a:gd name="connsiteX83" fmla="*/ 4237870 w 5181602"/>
              <a:gd name="connsiteY83" fmla="*/ 531906 h 6857685"/>
              <a:gd name="connsiteX84" fmla="*/ 4247024 w 5181602"/>
              <a:gd name="connsiteY84" fmla="*/ 531906 h 6857685"/>
              <a:gd name="connsiteX85" fmla="*/ 4259324 w 5181602"/>
              <a:gd name="connsiteY85" fmla="*/ 553435 h 6857685"/>
              <a:gd name="connsiteX86" fmla="*/ 4272333 w 5181602"/>
              <a:gd name="connsiteY86" fmla="*/ 553435 h 6857685"/>
              <a:gd name="connsiteX87" fmla="*/ 4258817 w 5181602"/>
              <a:gd name="connsiteY87" fmla="*/ 530032 h 6857685"/>
              <a:gd name="connsiteX88" fmla="*/ 4267363 w 5181602"/>
              <a:gd name="connsiteY88" fmla="*/ 522636 h 6857685"/>
              <a:gd name="connsiteX89" fmla="*/ 4270583 w 5181602"/>
              <a:gd name="connsiteY89" fmla="*/ 511947 h 6857685"/>
              <a:gd name="connsiteX90" fmla="*/ 4264649 w 5181602"/>
              <a:gd name="connsiteY90" fmla="*/ 497409 h 6857685"/>
              <a:gd name="connsiteX91" fmla="*/ 4250245 w 5181602"/>
              <a:gd name="connsiteY91" fmla="*/ 491381 h 6857685"/>
              <a:gd name="connsiteX92" fmla="*/ 4174344 w 5181602"/>
              <a:gd name="connsiteY92" fmla="*/ 491381 h 6857685"/>
              <a:gd name="connsiteX93" fmla="*/ 4174344 w 5181602"/>
              <a:gd name="connsiteY93" fmla="*/ 553435 h 6857685"/>
              <a:gd name="connsiteX94" fmla="*/ 4212129 w 5181602"/>
              <a:gd name="connsiteY94" fmla="*/ 553435 h 6857685"/>
              <a:gd name="connsiteX95" fmla="*/ 4212129 w 5181602"/>
              <a:gd name="connsiteY95" fmla="*/ 541733 h 6857685"/>
              <a:gd name="connsiteX96" fmla="*/ 4186390 w 5181602"/>
              <a:gd name="connsiteY96" fmla="*/ 541733 h 6857685"/>
              <a:gd name="connsiteX97" fmla="*/ 4186390 w 5181602"/>
              <a:gd name="connsiteY97" fmla="*/ 527828 h 6857685"/>
              <a:gd name="connsiteX98" fmla="*/ 4209517 w 5181602"/>
              <a:gd name="connsiteY98" fmla="*/ 527828 h 6857685"/>
              <a:gd name="connsiteX99" fmla="*/ 4209517 w 5181602"/>
              <a:gd name="connsiteY99" fmla="*/ 516304 h 6857685"/>
              <a:gd name="connsiteX100" fmla="*/ 4186390 w 5181602"/>
              <a:gd name="connsiteY100" fmla="*/ 516304 h 6857685"/>
              <a:gd name="connsiteX101" fmla="*/ 4186390 w 5181602"/>
              <a:gd name="connsiteY101" fmla="*/ 503083 h 6857685"/>
              <a:gd name="connsiteX102" fmla="*/ 4211698 w 5181602"/>
              <a:gd name="connsiteY102" fmla="*/ 503083 h 6857685"/>
              <a:gd name="connsiteX103" fmla="*/ 4211698 w 5181602"/>
              <a:gd name="connsiteY103" fmla="*/ 491381 h 6857685"/>
              <a:gd name="connsiteX104" fmla="*/ 4117463 w 5181602"/>
              <a:gd name="connsiteY104" fmla="*/ 491381 h 6857685"/>
              <a:gd name="connsiteX105" fmla="*/ 4117463 w 5181602"/>
              <a:gd name="connsiteY105" fmla="*/ 503083 h 6857685"/>
              <a:gd name="connsiteX106" fmla="*/ 4133871 w 5181602"/>
              <a:gd name="connsiteY106" fmla="*/ 503083 h 6857685"/>
              <a:gd name="connsiteX107" fmla="*/ 4133871 w 5181602"/>
              <a:gd name="connsiteY107" fmla="*/ 553435 h 6857685"/>
              <a:gd name="connsiteX108" fmla="*/ 4145916 w 5181602"/>
              <a:gd name="connsiteY108" fmla="*/ 553435 h 6857685"/>
              <a:gd name="connsiteX109" fmla="*/ 4145916 w 5181602"/>
              <a:gd name="connsiteY109" fmla="*/ 503083 h 6857685"/>
              <a:gd name="connsiteX110" fmla="*/ 4162400 w 5181602"/>
              <a:gd name="connsiteY110" fmla="*/ 503083 h 6857685"/>
              <a:gd name="connsiteX111" fmla="*/ 4162400 w 5181602"/>
              <a:gd name="connsiteY111" fmla="*/ 491381 h 6857685"/>
              <a:gd name="connsiteX112" fmla="*/ 4058046 w 5181602"/>
              <a:gd name="connsiteY112" fmla="*/ 491381 h 6857685"/>
              <a:gd name="connsiteX113" fmla="*/ 4058046 w 5181602"/>
              <a:gd name="connsiteY113" fmla="*/ 553435 h 6857685"/>
              <a:gd name="connsiteX114" fmla="*/ 4070092 w 5181602"/>
              <a:gd name="connsiteY114" fmla="*/ 553435 h 6857685"/>
              <a:gd name="connsiteX115" fmla="*/ 4070092 w 5181602"/>
              <a:gd name="connsiteY115" fmla="*/ 515493 h 6857685"/>
              <a:gd name="connsiteX116" fmla="*/ 4096263 w 5181602"/>
              <a:gd name="connsiteY116" fmla="*/ 553435 h 6857685"/>
              <a:gd name="connsiteX117" fmla="*/ 4105417 w 5181602"/>
              <a:gd name="connsiteY117" fmla="*/ 553435 h 6857685"/>
              <a:gd name="connsiteX118" fmla="*/ 4105417 w 5181602"/>
              <a:gd name="connsiteY118" fmla="*/ 491381 h 6857685"/>
              <a:gd name="connsiteX119" fmla="*/ 4093372 w 5181602"/>
              <a:gd name="connsiteY119" fmla="*/ 491381 h 6857685"/>
              <a:gd name="connsiteX120" fmla="*/ 4093372 w 5181602"/>
              <a:gd name="connsiteY120" fmla="*/ 529246 h 6857685"/>
              <a:gd name="connsiteX121" fmla="*/ 4067201 w 5181602"/>
              <a:gd name="connsiteY121" fmla="*/ 491381 h 6857685"/>
              <a:gd name="connsiteX122" fmla="*/ 4029441 w 5181602"/>
              <a:gd name="connsiteY122" fmla="*/ 491381 h 6857685"/>
              <a:gd name="connsiteX123" fmla="*/ 4029441 w 5181602"/>
              <a:gd name="connsiteY123" fmla="*/ 553435 h 6857685"/>
              <a:gd name="connsiteX124" fmla="*/ 4041487 w 5181602"/>
              <a:gd name="connsiteY124" fmla="*/ 553435 h 6857685"/>
              <a:gd name="connsiteX125" fmla="*/ 4041487 w 5181602"/>
              <a:gd name="connsiteY125" fmla="*/ 491381 h 6857685"/>
              <a:gd name="connsiteX126" fmla="*/ 4517507 w 5181602"/>
              <a:gd name="connsiteY126" fmla="*/ 490140 h 6857685"/>
              <a:gd name="connsiteX127" fmla="*/ 4495038 w 5181602"/>
              <a:gd name="connsiteY127" fmla="*/ 499486 h 6857685"/>
              <a:gd name="connsiteX128" fmla="*/ 4485833 w 5181602"/>
              <a:gd name="connsiteY128" fmla="*/ 522408 h 6857685"/>
              <a:gd name="connsiteX129" fmla="*/ 4495038 w 5181602"/>
              <a:gd name="connsiteY129" fmla="*/ 545330 h 6857685"/>
              <a:gd name="connsiteX130" fmla="*/ 4517507 w 5181602"/>
              <a:gd name="connsiteY130" fmla="*/ 554676 h 6857685"/>
              <a:gd name="connsiteX131" fmla="*/ 4540026 w 5181602"/>
              <a:gd name="connsiteY131" fmla="*/ 545330 h 6857685"/>
              <a:gd name="connsiteX132" fmla="*/ 4549282 w 5181602"/>
              <a:gd name="connsiteY132" fmla="*/ 522408 h 6857685"/>
              <a:gd name="connsiteX133" fmla="*/ 4540026 w 5181602"/>
              <a:gd name="connsiteY133" fmla="*/ 499486 h 6857685"/>
              <a:gd name="connsiteX134" fmla="*/ 4517507 w 5181602"/>
              <a:gd name="connsiteY134" fmla="*/ 490140 h 6857685"/>
              <a:gd name="connsiteX135" fmla="*/ 4887982 w 5181602"/>
              <a:gd name="connsiteY135" fmla="*/ 391994 h 6857685"/>
              <a:gd name="connsiteX136" fmla="*/ 4887982 w 5181602"/>
              <a:gd name="connsiteY136" fmla="*/ 415068 h 6857685"/>
              <a:gd name="connsiteX137" fmla="*/ 4892547 w 5181602"/>
              <a:gd name="connsiteY137" fmla="*/ 415068 h 6857685"/>
              <a:gd name="connsiteX138" fmla="*/ 4892547 w 5181602"/>
              <a:gd name="connsiteY138" fmla="*/ 400124 h 6857685"/>
              <a:gd name="connsiteX139" fmla="*/ 4899039 w 5181602"/>
              <a:gd name="connsiteY139" fmla="*/ 410813 h 6857685"/>
              <a:gd name="connsiteX140" fmla="*/ 4899571 w 5181602"/>
              <a:gd name="connsiteY140" fmla="*/ 410813 h 6857685"/>
              <a:gd name="connsiteX141" fmla="*/ 4906088 w 5181602"/>
              <a:gd name="connsiteY141" fmla="*/ 400099 h 6857685"/>
              <a:gd name="connsiteX142" fmla="*/ 4906088 w 5181602"/>
              <a:gd name="connsiteY142" fmla="*/ 415068 h 6857685"/>
              <a:gd name="connsiteX143" fmla="*/ 4910603 w 5181602"/>
              <a:gd name="connsiteY143" fmla="*/ 415068 h 6857685"/>
              <a:gd name="connsiteX144" fmla="*/ 4910603 w 5181602"/>
              <a:gd name="connsiteY144" fmla="*/ 391994 h 6857685"/>
              <a:gd name="connsiteX145" fmla="*/ 4905911 w 5181602"/>
              <a:gd name="connsiteY145" fmla="*/ 391994 h 6857685"/>
              <a:gd name="connsiteX146" fmla="*/ 4899318 w 5181602"/>
              <a:gd name="connsiteY146" fmla="*/ 402910 h 6857685"/>
              <a:gd name="connsiteX147" fmla="*/ 4892673 w 5181602"/>
              <a:gd name="connsiteY147" fmla="*/ 391994 h 6857685"/>
              <a:gd name="connsiteX148" fmla="*/ 4875581 w 5181602"/>
              <a:gd name="connsiteY148" fmla="*/ 391057 h 6857685"/>
              <a:gd name="connsiteX149" fmla="*/ 4867999 w 5181602"/>
              <a:gd name="connsiteY149" fmla="*/ 397921 h 6857685"/>
              <a:gd name="connsiteX150" fmla="*/ 4874972 w 5181602"/>
              <a:gd name="connsiteY150" fmla="*/ 404810 h 6857685"/>
              <a:gd name="connsiteX151" fmla="*/ 4879968 w 5181602"/>
              <a:gd name="connsiteY151" fmla="*/ 408179 h 6857685"/>
              <a:gd name="connsiteX152" fmla="*/ 4876266 w 5181602"/>
              <a:gd name="connsiteY152" fmla="*/ 410610 h 6857685"/>
              <a:gd name="connsiteX153" fmla="*/ 4870940 w 5181602"/>
              <a:gd name="connsiteY153" fmla="*/ 407090 h 6857685"/>
              <a:gd name="connsiteX154" fmla="*/ 4867035 w 5181602"/>
              <a:gd name="connsiteY154" fmla="*/ 409369 h 6857685"/>
              <a:gd name="connsiteX155" fmla="*/ 4876114 w 5181602"/>
              <a:gd name="connsiteY155" fmla="*/ 415068 h 6857685"/>
              <a:gd name="connsiteX156" fmla="*/ 4884508 w 5181602"/>
              <a:gd name="connsiteY156" fmla="*/ 408103 h 6857685"/>
              <a:gd name="connsiteX157" fmla="*/ 4876951 w 5181602"/>
              <a:gd name="connsiteY157" fmla="*/ 401036 h 6857685"/>
              <a:gd name="connsiteX158" fmla="*/ 4872563 w 5181602"/>
              <a:gd name="connsiteY158" fmla="*/ 397794 h 6857685"/>
              <a:gd name="connsiteX159" fmla="*/ 4875606 w 5181602"/>
              <a:gd name="connsiteY159" fmla="*/ 395489 h 6857685"/>
              <a:gd name="connsiteX160" fmla="*/ 4880019 w 5181602"/>
              <a:gd name="connsiteY160" fmla="*/ 398453 h 6857685"/>
              <a:gd name="connsiteX161" fmla="*/ 4883848 w 5181602"/>
              <a:gd name="connsiteY161" fmla="*/ 396249 h 6857685"/>
              <a:gd name="connsiteX162" fmla="*/ 4875581 w 5181602"/>
              <a:gd name="connsiteY162" fmla="*/ 391057 h 6857685"/>
              <a:gd name="connsiteX163" fmla="*/ 4228943 w 5181602"/>
              <a:gd name="connsiteY163" fmla="*/ 352584 h 6857685"/>
              <a:gd name="connsiteX164" fmla="*/ 4228961 w 5181602"/>
              <a:gd name="connsiteY164" fmla="*/ 352610 h 6857685"/>
              <a:gd name="connsiteX165" fmla="*/ 4228943 w 5181602"/>
              <a:gd name="connsiteY165" fmla="*/ 352610 h 6857685"/>
              <a:gd name="connsiteX166" fmla="*/ 4706054 w 5181602"/>
              <a:gd name="connsiteY166" fmla="*/ 291036 h 6857685"/>
              <a:gd name="connsiteX167" fmla="*/ 4737652 w 5181602"/>
              <a:gd name="connsiteY167" fmla="*/ 303574 h 6857685"/>
              <a:gd name="connsiteX168" fmla="*/ 4750205 w 5181602"/>
              <a:gd name="connsiteY168" fmla="*/ 335766 h 6857685"/>
              <a:gd name="connsiteX169" fmla="*/ 4737652 w 5181602"/>
              <a:gd name="connsiteY169" fmla="*/ 367958 h 6857685"/>
              <a:gd name="connsiteX170" fmla="*/ 4706054 w 5181602"/>
              <a:gd name="connsiteY170" fmla="*/ 380495 h 6857685"/>
              <a:gd name="connsiteX171" fmla="*/ 4674609 w 5181602"/>
              <a:gd name="connsiteY171" fmla="*/ 367958 h 6857685"/>
              <a:gd name="connsiteX172" fmla="*/ 4662208 w 5181602"/>
              <a:gd name="connsiteY172" fmla="*/ 335766 h 6857685"/>
              <a:gd name="connsiteX173" fmla="*/ 4674609 w 5181602"/>
              <a:gd name="connsiteY173" fmla="*/ 303574 h 6857685"/>
              <a:gd name="connsiteX174" fmla="*/ 4706054 w 5181602"/>
              <a:gd name="connsiteY174" fmla="*/ 291036 h 6857685"/>
              <a:gd name="connsiteX175" fmla="*/ 4269924 w 5181602"/>
              <a:gd name="connsiteY175" fmla="*/ 288808 h 6857685"/>
              <a:gd name="connsiteX176" fmla="*/ 4294852 w 5181602"/>
              <a:gd name="connsiteY176" fmla="*/ 296736 h 6857685"/>
              <a:gd name="connsiteX177" fmla="*/ 4309307 w 5181602"/>
              <a:gd name="connsiteY177" fmla="*/ 320848 h 6857685"/>
              <a:gd name="connsiteX178" fmla="*/ 4228309 w 5181602"/>
              <a:gd name="connsiteY178" fmla="*/ 320848 h 6857685"/>
              <a:gd name="connsiteX179" fmla="*/ 4242612 w 5181602"/>
              <a:gd name="connsiteY179" fmla="*/ 297217 h 6857685"/>
              <a:gd name="connsiteX180" fmla="*/ 4269924 w 5181602"/>
              <a:gd name="connsiteY180" fmla="*/ 288808 h 6857685"/>
              <a:gd name="connsiteX181" fmla="*/ 4407169 w 5181602"/>
              <a:gd name="connsiteY181" fmla="*/ 283686 h 6857685"/>
              <a:gd name="connsiteX182" fmla="*/ 4407169 w 5181602"/>
              <a:gd name="connsiteY182" fmla="*/ 283717 h 6857685"/>
              <a:gd name="connsiteX183" fmla="*/ 4407143 w 5181602"/>
              <a:gd name="connsiteY183" fmla="*/ 283717 h 6857685"/>
              <a:gd name="connsiteX184" fmla="*/ 4461463 w 5181602"/>
              <a:gd name="connsiteY184" fmla="*/ 256439 h 6857685"/>
              <a:gd name="connsiteX185" fmla="*/ 4521818 w 5181602"/>
              <a:gd name="connsiteY185" fmla="*/ 415068 h 6857685"/>
              <a:gd name="connsiteX186" fmla="*/ 4568530 w 5181602"/>
              <a:gd name="connsiteY186" fmla="*/ 415068 h 6857685"/>
              <a:gd name="connsiteX187" fmla="*/ 4628886 w 5181602"/>
              <a:gd name="connsiteY187" fmla="*/ 256439 h 6857685"/>
              <a:gd name="connsiteX188" fmla="*/ 4583771 w 5181602"/>
              <a:gd name="connsiteY188" fmla="*/ 256439 h 6857685"/>
              <a:gd name="connsiteX189" fmla="*/ 4545022 w 5181602"/>
              <a:gd name="connsiteY189" fmla="*/ 367477 h 6857685"/>
              <a:gd name="connsiteX190" fmla="*/ 4506577 w 5181602"/>
              <a:gd name="connsiteY190" fmla="*/ 256439 h 6857685"/>
              <a:gd name="connsiteX191" fmla="*/ 4455428 w 5181602"/>
              <a:gd name="connsiteY191" fmla="*/ 256413 h 6857685"/>
              <a:gd name="connsiteX192" fmla="*/ 4426036 w 5181602"/>
              <a:gd name="connsiteY192" fmla="*/ 260871 h 6857685"/>
              <a:gd name="connsiteX193" fmla="*/ 4407169 w 5181602"/>
              <a:gd name="connsiteY193" fmla="*/ 283686 h 6857685"/>
              <a:gd name="connsiteX194" fmla="*/ 4407169 w 5181602"/>
              <a:gd name="connsiteY194" fmla="*/ 256438 h 6857685"/>
              <a:gd name="connsiteX195" fmla="*/ 4366188 w 5181602"/>
              <a:gd name="connsiteY195" fmla="*/ 256438 h 6857685"/>
              <a:gd name="connsiteX196" fmla="*/ 4366188 w 5181602"/>
              <a:gd name="connsiteY196" fmla="*/ 415068 h 6857685"/>
              <a:gd name="connsiteX197" fmla="*/ 4407169 w 5181602"/>
              <a:gd name="connsiteY197" fmla="*/ 415068 h 6857685"/>
              <a:gd name="connsiteX198" fmla="*/ 4407169 w 5181602"/>
              <a:gd name="connsiteY198" fmla="*/ 339236 h 6857685"/>
              <a:gd name="connsiteX199" fmla="*/ 4421928 w 5181602"/>
              <a:gd name="connsiteY199" fmla="*/ 306563 h 6857685"/>
              <a:gd name="connsiteX200" fmla="*/ 4455428 w 5181602"/>
              <a:gd name="connsiteY200" fmla="*/ 298939 h 6857685"/>
              <a:gd name="connsiteX201" fmla="*/ 4269898 w 5181602"/>
              <a:gd name="connsiteY201" fmla="*/ 252032 h 6857685"/>
              <a:gd name="connsiteX202" fmla="*/ 4209543 w 5181602"/>
              <a:gd name="connsiteY202" fmla="*/ 275992 h 6857685"/>
              <a:gd name="connsiteX203" fmla="*/ 4186035 w 5181602"/>
              <a:gd name="connsiteY203" fmla="*/ 335792 h 6857685"/>
              <a:gd name="connsiteX204" fmla="*/ 4209873 w 5181602"/>
              <a:gd name="connsiteY204" fmla="*/ 395743 h 6857685"/>
              <a:gd name="connsiteX205" fmla="*/ 4273094 w 5181602"/>
              <a:gd name="connsiteY205" fmla="*/ 419526 h 6857685"/>
              <a:gd name="connsiteX206" fmla="*/ 4342350 w 5181602"/>
              <a:gd name="connsiteY206" fmla="*/ 385587 h 6857685"/>
              <a:gd name="connsiteX207" fmla="*/ 4309307 w 5181602"/>
              <a:gd name="connsiteY207" fmla="*/ 366540 h 6857685"/>
              <a:gd name="connsiteX208" fmla="*/ 4273728 w 5181602"/>
              <a:gd name="connsiteY208" fmla="*/ 382395 h 6857685"/>
              <a:gd name="connsiteX209" fmla="*/ 4244270 w 5181602"/>
              <a:gd name="connsiteY209" fmla="*/ 374946 h 6857685"/>
              <a:gd name="connsiteX210" fmla="*/ 4228961 w 5181602"/>
              <a:gd name="connsiteY210" fmla="*/ 352610 h 6857685"/>
              <a:gd name="connsiteX211" fmla="*/ 4348690 w 5181602"/>
              <a:gd name="connsiteY211" fmla="*/ 352610 h 6857685"/>
              <a:gd name="connsiteX212" fmla="*/ 4350288 w 5181602"/>
              <a:gd name="connsiteY212" fmla="*/ 335792 h 6857685"/>
              <a:gd name="connsiteX213" fmla="*/ 4327566 w 5181602"/>
              <a:gd name="connsiteY213" fmla="*/ 276144 h 6857685"/>
              <a:gd name="connsiteX214" fmla="*/ 4269898 w 5181602"/>
              <a:gd name="connsiteY214" fmla="*/ 252032 h 6857685"/>
              <a:gd name="connsiteX215" fmla="*/ 4698421 w 5181602"/>
              <a:gd name="connsiteY215" fmla="*/ 252006 h 6857685"/>
              <a:gd name="connsiteX216" fmla="*/ 4643949 w 5181602"/>
              <a:gd name="connsiteY216" fmla="*/ 276270 h 6857685"/>
              <a:gd name="connsiteX217" fmla="*/ 4621227 w 5181602"/>
              <a:gd name="connsiteY217" fmla="*/ 335740 h 6857685"/>
              <a:gd name="connsiteX218" fmla="*/ 4643949 w 5181602"/>
              <a:gd name="connsiteY218" fmla="*/ 395236 h 6857685"/>
              <a:gd name="connsiteX219" fmla="*/ 4698421 w 5181602"/>
              <a:gd name="connsiteY219" fmla="*/ 419500 h 6857685"/>
              <a:gd name="connsiteX220" fmla="*/ 4750205 w 5181602"/>
              <a:gd name="connsiteY220" fmla="*/ 396350 h 6857685"/>
              <a:gd name="connsiteX221" fmla="*/ 4750205 w 5181602"/>
              <a:gd name="connsiteY221" fmla="*/ 415068 h 6857685"/>
              <a:gd name="connsiteX222" fmla="*/ 4791185 w 5181602"/>
              <a:gd name="connsiteY222" fmla="*/ 415068 h 6857685"/>
              <a:gd name="connsiteX223" fmla="*/ 4791185 w 5181602"/>
              <a:gd name="connsiteY223" fmla="*/ 256438 h 6857685"/>
              <a:gd name="connsiteX224" fmla="*/ 4750205 w 5181602"/>
              <a:gd name="connsiteY224" fmla="*/ 256438 h 6857685"/>
              <a:gd name="connsiteX225" fmla="*/ 4750205 w 5181602"/>
              <a:gd name="connsiteY225" fmla="*/ 275181 h 6857685"/>
              <a:gd name="connsiteX226" fmla="*/ 4698421 w 5181602"/>
              <a:gd name="connsiteY226" fmla="*/ 252006 h 6857685"/>
              <a:gd name="connsiteX227" fmla="*/ 4003422 w 5181602"/>
              <a:gd name="connsiteY227" fmla="*/ 252006 h 6857685"/>
              <a:gd name="connsiteX228" fmla="*/ 3956076 w 5181602"/>
              <a:gd name="connsiteY228" fmla="*/ 274193 h 6857685"/>
              <a:gd name="connsiteX229" fmla="*/ 3956076 w 5181602"/>
              <a:gd name="connsiteY229" fmla="*/ 256438 h 6857685"/>
              <a:gd name="connsiteX230" fmla="*/ 3915095 w 5181602"/>
              <a:gd name="connsiteY230" fmla="*/ 256438 h 6857685"/>
              <a:gd name="connsiteX231" fmla="*/ 3915095 w 5181602"/>
              <a:gd name="connsiteY231" fmla="*/ 415093 h 6857685"/>
              <a:gd name="connsiteX232" fmla="*/ 3956076 w 5181602"/>
              <a:gd name="connsiteY232" fmla="*/ 415093 h 6857685"/>
              <a:gd name="connsiteX233" fmla="*/ 3956076 w 5181602"/>
              <a:gd name="connsiteY233" fmla="*/ 329434 h 6857685"/>
              <a:gd name="connsiteX234" fmla="*/ 3965611 w 5181602"/>
              <a:gd name="connsiteY234" fmla="*/ 299927 h 6857685"/>
              <a:gd name="connsiteX235" fmla="*/ 3991021 w 5181602"/>
              <a:gd name="connsiteY235" fmla="*/ 290099 h 6857685"/>
              <a:gd name="connsiteX236" fmla="*/ 4013895 w 5181602"/>
              <a:gd name="connsiteY236" fmla="*/ 298508 h 6857685"/>
              <a:gd name="connsiteX237" fmla="*/ 4022467 w 5181602"/>
              <a:gd name="connsiteY237" fmla="*/ 322772 h 6857685"/>
              <a:gd name="connsiteX238" fmla="*/ 4022467 w 5181602"/>
              <a:gd name="connsiteY238" fmla="*/ 415093 h 6857685"/>
              <a:gd name="connsiteX239" fmla="*/ 4063447 w 5181602"/>
              <a:gd name="connsiteY239" fmla="*/ 415093 h 6857685"/>
              <a:gd name="connsiteX240" fmla="*/ 4063447 w 5181602"/>
              <a:gd name="connsiteY240" fmla="*/ 317682 h 6857685"/>
              <a:gd name="connsiteX241" fmla="*/ 4046457 w 5181602"/>
              <a:gd name="connsiteY241" fmla="*/ 269457 h 6857685"/>
              <a:gd name="connsiteX242" fmla="*/ 4003422 w 5181602"/>
              <a:gd name="connsiteY242" fmla="*/ 252006 h 6857685"/>
              <a:gd name="connsiteX243" fmla="*/ 3844596 w 5181602"/>
              <a:gd name="connsiteY243" fmla="*/ 213052 h 6857685"/>
              <a:gd name="connsiteX244" fmla="*/ 3888442 w 5181602"/>
              <a:gd name="connsiteY244" fmla="*/ 256844 h 6857685"/>
              <a:gd name="connsiteX245" fmla="*/ 3844596 w 5181602"/>
              <a:gd name="connsiteY245" fmla="*/ 256844 h 6857685"/>
              <a:gd name="connsiteX246" fmla="*/ 3844596 w 5181602"/>
              <a:gd name="connsiteY246" fmla="*/ 414815 h 6857685"/>
              <a:gd name="connsiteX247" fmla="*/ 3888442 w 5181602"/>
              <a:gd name="connsiteY247" fmla="*/ 414815 h 6857685"/>
              <a:gd name="connsiteX248" fmla="*/ 3888442 w 5181602"/>
              <a:gd name="connsiteY248" fmla="*/ 256844 h 6857685"/>
              <a:gd name="connsiteX249" fmla="*/ 3888442 w 5181602"/>
              <a:gd name="connsiteY249" fmla="*/ 213052 h 6857685"/>
              <a:gd name="connsiteX250" fmla="*/ 4815657 w 5181602"/>
              <a:gd name="connsiteY250" fmla="*/ 212672 h 6857685"/>
              <a:gd name="connsiteX251" fmla="*/ 4815657 w 5181602"/>
              <a:gd name="connsiteY251" fmla="*/ 415094 h 6857685"/>
              <a:gd name="connsiteX252" fmla="*/ 4856638 w 5181602"/>
              <a:gd name="connsiteY252" fmla="*/ 415094 h 6857685"/>
              <a:gd name="connsiteX253" fmla="*/ 4856638 w 5181602"/>
              <a:gd name="connsiteY253" fmla="*/ 212672 h 6857685"/>
              <a:gd name="connsiteX254" fmla="*/ 4096821 w 5181602"/>
              <a:gd name="connsiteY254" fmla="*/ 212672 h 6857685"/>
              <a:gd name="connsiteX255" fmla="*/ 4109653 w 5181602"/>
              <a:gd name="connsiteY255" fmla="*/ 243620 h 6857685"/>
              <a:gd name="connsiteX256" fmla="*/ 4140607 w 5181602"/>
              <a:gd name="connsiteY256" fmla="*/ 256439 h 6857685"/>
              <a:gd name="connsiteX257" fmla="*/ 4099661 w 5181602"/>
              <a:gd name="connsiteY257" fmla="*/ 256439 h 6857685"/>
              <a:gd name="connsiteX258" fmla="*/ 4072019 w 5181602"/>
              <a:gd name="connsiteY258" fmla="*/ 256439 h 6857685"/>
              <a:gd name="connsiteX259" fmla="*/ 4072019 w 5181602"/>
              <a:gd name="connsiteY259" fmla="*/ 295799 h 6857685"/>
              <a:gd name="connsiteX260" fmla="*/ 4099661 w 5181602"/>
              <a:gd name="connsiteY260" fmla="*/ 295799 h 6857685"/>
              <a:gd name="connsiteX261" fmla="*/ 4099661 w 5181602"/>
              <a:gd name="connsiteY261" fmla="*/ 361778 h 6857685"/>
              <a:gd name="connsiteX262" fmla="*/ 4116981 w 5181602"/>
              <a:gd name="connsiteY262" fmla="*/ 407141 h 6857685"/>
              <a:gd name="connsiteX263" fmla="*/ 4176550 w 5181602"/>
              <a:gd name="connsiteY263" fmla="*/ 415068 h 6857685"/>
              <a:gd name="connsiteX264" fmla="*/ 4176550 w 5181602"/>
              <a:gd name="connsiteY264" fmla="*/ 377938 h 6857685"/>
              <a:gd name="connsiteX265" fmla="*/ 4156846 w 5181602"/>
              <a:gd name="connsiteY265" fmla="*/ 378089 h 6857685"/>
              <a:gd name="connsiteX266" fmla="*/ 4144775 w 5181602"/>
              <a:gd name="connsiteY266" fmla="*/ 373809 h 6857685"/>
              <a:gd name="connsiteX267" fmla="*/ 4140641 w 5181602"/>
              <a:gd name="connsiteY267" fmla="*/ 361753 h 6857685"/>
              <a:gd name="connsiteX268" fmla="*/ 4140641 w 5181602"/>
              <a:gd name="connsiteY268" fmla="*/ 295773 h 6857685"/>
              <a:gd name="connsiteX269" fmla="*/ 4176550 w 5181602"/>
              <a:gd name="connsiteY269" fmla="*/ 295773 h 6857685"/>
              <a:gd name="connsiteX270" fmla="*/ 4176550 w 5181602"/>
              <a:gd name="connsiteY270" fmla="*/ 256439 h 6857685"/>
              <a:gd name="connsiteX271" fmla="*/ 4140667 w 5181602"/>
              <a:gd name="connsiteY271" fmla="*/ 256439 h 6857685"/>
              <a:gd name="connsiteX272" fmla="*/ 4140667 w 5181602"/>
              <a:gd name="connsiteY272" fmla="*/ 212672 h 6857685"/>
              <a:gd name="connsiteX273" fmla="*/ 0 w 5181602"/>
              <a:gd name="connsiteY273" fmla="*/ 0 h 6857685"/>
              <a:gd name="connsiteX274" fmla="*/ 5181602 w 5181602"/>
              <a:gd name="connsiteY274" fmla="*/ 0 h 6857685"/>
              <a:gd name="connsiteX275" fmla="*/ 5181602 w 5181602"/>
              <a:gd name="connsiteY275" fmla="*/ 5184339 h 6857685"/>
              <a:gd name="connsiteX276" fmla="*/ 0 w 5181602"/>
              <a:gd name="connsiteY276" fmla="*/ 0 h 6857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Lst>
            <a:rect l="l" t="t" r="r" b="b"/>
            <a:pathLst>
              <a:path w="5181602" h="6857685">
                <a:moveTo>
                  <a:pt x="0" y="5184339"/>
                </a:moveTo>
                <a:lnTo>
                  <a:pt x="5181602" y="5184339"/>
                </a:lnTo>
                <a:lnTo>
                  <a:pt x="5181602" y="6857685"/>
                </a:lnTo>
                <a:lnTo>
                  <a:pt x="0" y="6857685"/>
                </a:lnTo>
                <a:close/>
                <a:moveTo>
                  <a:pt x="4650365" y="505489"/>
                </a:moveTo>
                <a:lnTo>
                  <a:pt x="4658734" y="530842"/>
                </a:lnTo>
                <a:lnTo>
                  <a:pt x="4641996" y="530842"/>
                </a:lnTo>
                <a:close/>
                <a:moveTo>
                  <a:pt x="4372046" y="505489"/>
                </a:moveTo>
                <a:lnTo>
                  <a:pt x="4380415" y="530842"/>
                </a:lnTo>
                <a:lnTo>
                  <a:pt x="4363677" y="530842"/>
                </a:lnTo>
                <a:close/>
                <a:moveTo>
                  <a:pt x="4237870" y="502804"/>
                </a:moveTo>
                <a:lnTo>
                  <a:pt x="4250270" y="502804"/>
                </a:lnTo>
                <a:cubicBezTo>
                  <a:pt x="4252527" y="502804"/>
                  <a:pt x="4254480" y="503690"/>
                  <a:pt x="4256103" y="505463"/>
                </a:cubicBezTo>
                <a:cubicBezTo>
                  <a:pt x="4257726" y="507236"/>
                  <a:pt x="4258538" y="509389"/>
                  <a:pt x="4258538" y="511947"/>
                </a:cubicBezTo>
                <a:cubicBezTo>
                  <a:pt x="4258538" y="514505"/>
                  <a:pt x="4257726" y="516658"/>
                  <a:pt x="4256103" y="518457"/>
                </a:cubicBezTo>
                <a:cubicBezTo>
                  <a:pt x="4254480" y="520255"/>
                  <a:pt x="4252527" y="521167"/>
                  <a:pt x="4250270" y="521167"/>
                </a:cubicBezTo>
                <a:lnTo>
                  <a:pt x="4237870" y="521167"/>
                </a:lnTo>
                <a:close/>
                <a:moveTo>
                  <a:pt x="4517507" y="502019"/>
                </a:moveTo>
                <a:cubicBezTo>
                  <a:pt x="4523086" y="502019"/>
                  <a:pt x="4527777" y="503944"/>
                  <a:pt x="4531556" y="507794"/>
                </a:cubicBezTo>
                <a:cubicBezTo>
                  <a:pt x="4535334" y="511644"/>
                  <a:pt x="4537236" y="516506"/>
                  <a:pt x="4537236" y="522408"/>
                </a:cubicBezTo>
                <a:cubicBezTo>
                  <a:pt x="4537211" y="528335"/>
                  <a:pt x="4535334" y="533172"/>
                  <a:pt x="4531556" y="536997"/>
                </a:cubicBezTo>
                <a:cubicBezTo>
                  <a:pt x="4527777" y="540821"/>
                  <a:pt x="4523086" y="542721"/>
                  <a:pt x="4517507" y="542721"/>
                </a:cubicBezTo>
                <a:cubicBezTo>
                  <a:pt x="4511928" y="542721"/>
                  <a:pt x="4507236" y="540821"/>
                  <a:pt x="4503458" y="536997"/>
                </a:cubicBezTo>
                <a:cubicBezTo>
                  <a:pt x="4499679" y="533172"/>
                  <a:pt x="4497777" y="528335"/>
                  <a:pt x="4497777" y="522408"/>
                </a:cubicBezTo>
                <a:cubicBezTo>
                  <a:pt x="4497777" y="516506"/>
                  <a:pt x="4499679" y="511618"/>
                  <a:pt x="4503458" y="507794"/>
                </a:cubicBezTo>
                <a:cubicBezTo>
                  <a:pt x="4507236" y="503944"/>
                  <a:pt x="4511928" y="502019"/>
                  <a:pt x="4517507" y="502019"/>
                </a:cubicBezTo>
                <a:close/>
                <a:moveTo>
                  <a:pt x="4690432" y="491381"/>
                </a:moveTo>
                <a:lnTo>
                  <a:pt x="4690432" y="553435"/>
                </a:lnTo>
                <a:lnTo>
                  <a:pt x="4725758" y="553435"/>
                </a:lnTo>
                <a:lnTo>
                  <a:pt x="4725758" y="541733"/>
                </a:lnTo>
                <a:lnTo>
                  <a:pt x="4702478" y="541733"/>
                </a:lnTo>
                <a:lnTo>
                  <a:pt x="4702478" y="491381"/>
                </a:lnTo>
                <a:close/>
                <a:moveTo>
                  <a:pt x="4642884" y="491381"/>
                </a:moveTo>
                <a:lnTo>
                  <a:pt x="4621506" y="553435"/>
                </a:lnTo>
                <a:lnTo>
                  <a:pt x="4634515" y="553435"/>
                </a:lnTo>
                <a:lnTo>
                  <a:pt x="4638167" y="542265"/>
                </a:lnTo>
                <a:lnTo>
                  <a:pt x="4662512" y="542265"/>
                </a:lnTo>
                <a:lnTo>
                  <a:pt x="4666189" y="553435"/>
                </a:lnTo>
                <a:lnTo>
                  <a:pt x="4679275" y="553435"/>
                </a:lnTo>
                <a:lnTo>
                  <a:pt x="4657821" y="491381"/>
                </a:lnTo>
                <a:close/>
                <a:moveTo>
                  <a:pt x="4562951" y="491381"/>
                </a:moveTo>
                <a:lnTo>
                  <a:pt x="4562951" y="553435"/>
                </a:lnTo>
                <a:lnTo>
                  <a:pt x="4574997" y="553435"/>
                </a:lnTo>
                <a:lnTo>
                  <a:pt x="4574997" y="515493"/>
                </a:lnTo>
                <a:lnTo>
                  <a:pt x="4601167" y="553435"/>
                </a:lnTo>
                <a:lnTo>
                  <a:pt x="4610348" y="553435"/>
                </a:lnTo>
                <a:lnTo>
                  <a:pt x="4610348" y="491381"/>
                </a:lnTo>
                <a:lnTo>
                  <a:pt x="4598302" y="491381"/>
                </a:lnTo>
                <a:lnTo>
                  <a:pt x="4598302" y="529246"/>
                </a:lnTo>
                <a:lnTo>
                  <a:pt x="4572131" y="491381"/>
                </a:lnTo>
                <a:close/>
                <a:moveTo>
                  <a:pt x="4460017" y="491381"/>
                </a:moveTo>
                <a:lnTo>
                  <a:pt x="4460017" y="553435"/>
                </a:lnTo>
                <a:lnTo>
                  <a:pt x="4472063" y="553435"/>
                </a:lnTo>
                <a:lnTo>
                  <a:pt x="4472063" y="491381"/>
                </a:lnTo>
                <a:close/>
                <a:moveTo>
                  <a:pt x="4403111" y="491381"/>
                </a:moveTo>
                <a:lnTo>
                  <a:pt x="4403111" y="503083"/>
                </a:lnTo>
                <a:lnTo>
                  <a:pt x="4419518" y="503083"/>
                </a:lnTo>
                <a:lnTo>
                  <a:pt x="4419518" y="553435"/>
                </a:lnTo>
                <a:lnTo>
                  <a:pt x="4431564" y="553435"/>
                </a:lnTo>
                <a:lnTo>
                  <a:pt x="4431564" y="503083"/>
                </a:lnTo>
                <a:lnTo>
                  <a:pt x="4448048" y="503083"/>
                </a:lnTo>
                <a:lnTo>
                  <a:pt x="4448048" y="491381"/>
                </a:lnTo>
                <a:close/>
                <a:moveTo>
                  <a:pt x="4364565" y="491381"/>
                </a:moveTo>
                <a:lnTo>
                  <a:pt x="4343187" y="553435"/>
                </a:lnTo>
                <a:lnTo>
                  <a:pt x="4356196" y="553435"/>
                </a:lnTo>
                <a:lnTo>
                  <a:pt x="4359873" y="542265"/>
                </a:lnTo>
                <a:lnTo>
                  <a:pt x="4384218" y="542265"/>
                </a:lnTo>
                <a:lnTo>
                  <a:pt x="4387870" y="553435"/>
                </a:lnTo>
                <a:lnTo>
                  <a:pt x="4400956" y="553435"/>
                </a:lnTo>
                <a:lnTo>
                  <a:pt x="4379502" y="491381"/>
                </a:lnTo>
                <a:close/>
                <a:moveTo>
                  <a:pt x="4284632" y="491381"/>
                </a:moveTo>
                <a:lnTo>
                  <a:pt x="4284632" y="553435"/>
                </a:lnTo>
                <a:lnTo>
                  <a:pt x="4296678" y="553435"/>
                </a:lnTo>
                <a:lnTo>
                  <a:pt x="4296678" y="515493"/>
                </a:lnTo>
                <a:lnTo>
                  <a:pt x="4322848" y="553435"/>
                </a:lnTo>
                <a:lnTo>
                  <a:pt x="4332003" y="553435"/>
                </a:lnTo>
                <a:lnTo>
                  <a:pt x="4332003" y="491381"/>
                </a:lnTo>
                <a:lnTo>
                  <a:pt x="4319983" y="491381"/>
                </a:lnTo>
                <a:lnTo>
                  <a:pt x="4319983" y="529246"/>
                </a:lnTo>
                <a:lnTo>
                  <a:pt x="4293787" y="491381"/>
                </a:lnTo>
                <a:close/>
                <a:moveTo>
                  <a:pt x="4225824" y="491381"/>
                </a:moveTo>
                <a:lnTo>
                  <a:pt x="4225824" y="553435"/>
                </a:lnTo>
                <a:lnTo>
                  <a:pt x="4237870" y="553435"/>
                </a:lnTo>
                <a:lnTo>
                  <a:pt x="4237870" y="531906"/>
                </a:lnTo>
                <a:lnTo>
                  <a:pt x="4247024" y="531906"/>
                </a:lnTo>
                <a:lnTo>
                  <a:pt x="4259324" y="553435"/>
                </a:lnTo>
                <a:lnTo>
                  <a:pt x="4272333" y="553435"/>
                </a:lnTo>
                <a:lnTo>
                  <a:pt x="4258817" y="530032"/>
                </a:lnTo>
                <a:cubicBezTo>
                  <a:pt x="4262367" y="528385"/>
                  <a:pt x="4265207" y="525903"/>
                  <a:pt x="4267363" y="522636"/>
                </a:cubicBezTo>
                <a:cubicBezTo>
                  <a:pt x="4269518" y="519343"/>
                  <a:pt x="4270583" y="515797"/>
                  <a:pt x="4270583" y="511947"/>
                </a:cubicBezTo>
                <a:cubicBezTo>
                  <a:pt x="4270583" y="506274"/>
                  <a:pt x="4268605" y="501436"/>
                  <a:pt x="4264649" y="497409"/>
                </a:cubicBezTo>
                <a:cubicBezTo>
                  <a:pt x="4260693" y="493382"/>
                  <a:pt x="4255900" y="491381"/>
                  <a:pt x="4250245" y="491381"/>
                </a:cubicBezTo>
                <a:close/>
                <a:moveTo>
                  <a:pt x="4174344" y="491381"/>
                </a:moveTo>
                <a:lnTo>
                  <a:pt x="4174344" y="553435"/>
                </a:lnTo>
                <a:lnTo>
                  <a:pt x="4212129" y="553435"/>
                </a:lnTo>
                <a:lnTo>
                  <a:pt x="4212129" y="541733"/>
                </a:lnTo>
                <a:lnTo>
                  <a:pt x="4186390" y="541733"/>
                </a:lnTo>
                <a:lnTo>
                  <a:pt x="4186390" y="527828"/>
                </a:lnTo>
                <a:lnTo>
                  <a:pt x="4209517" y="527828"/>
                </a:lnTo>
                <a:lnTo>
                  <a:pt x="4209517" y="516304"/>
                </a:lnTo>
                <a:lnTo>
                  <a:pt x="4186390" y="516304"/>
                </a:lnTo>
                <a:lnTo>
                  <a:pt x="4186390" y="503083"/>
                </a:lnTo>
                <a:lnTo>
                  <a:pt x="4211698" y="503083"/>
                </a:lnTo>
                <a:lnTo>
                  <a:pt x="4211698" y="491381"/>
                </a:lnTo>
                <a:close/>
                <a:moveTo>
                  <a:pt x="4117463" y="491381"/>
                </a:moveTo>
                <a:lnTo>
                  <a:pt x="4117463" y="503083"/>
                </a:lnTo>
                <a:lnTo>
                  <a:pt x="4133871" y="503083"/>
                </a:lnTo>
                <a:lnTo>
                  <a:pt x="4133871" y="553435"/>
                </a:lnTo>
                <a:lnTo>
                  <a:pt x="4145916" y="553435"/>
                </a:lnTo>
                <a:lnTo>
                  <a:pt x="4145916" y="503083"/>
                </a:lnTo>
                <a:lnTo>
                  <a:pt x="4162400" y="503083"/>
                </a:lnTo>
                <a:lnTo>
                  <a:pt x="4162400" y="491381"/>
                </a:lnTo>
                <a:close/>
                <a:moveTo>
                  <a:pt x="4058046" y="491381"/>
                </a:moveTo>
                <a:lnTo>
                  <a:pt x="4058046" y="553435"/>
                </a:lnTo>
                <a:lnTo>
                  <a:pt x="4070092" y="553435"/>
                </a:lnTo>
                <a:lnTo>
                  <a:pt x="4070092" y="515493"/>
                </a:lnTo>
                <a:lnTo>
                  <a:pt x="4096263" y="553435"/>
                </a:lnTo>
                <a:lnTo>
                  <a:pt x="4105417" y="553435"/>
                </a:lnTo>
                <a:lnTo>
                  <a:pt x="4105417" y="491381"/>
                </a:lnTo>
                <a:lnTo>
                  <a:pt x="4093372" y="491381"/>
                </a:lnTo>
                <a:lnTo>
                  <a:pt x="4093372" y="529246"/>
                </a:lnTo>
                <a:lnTo>
                  <a:pt x="4067201" y="491381"/>
                </a:lnTo>
                <a:close/>
                <a:moveTo>
                  <a:pt x="4029441" y="491381"/>
                </a:moveTo>
                <a:lnTo>
                  <a:pt x="4029441" y="553435"/>
                </a:lnTo>
                <a:lnTo>
                  <a:pt x="4041487" y="553435"/>
                </a:lnTo>
                <a:lnTo>
                  <a:pt x="4041487" y="491381"/>
                </a:lnTo>
                <a:close/>
                <a:moveTo>
                  <a:pt x="4517507" y="490140"/>
                </a:moveTo>
                <a:cubicBezTo>
                  <a:pt x="4508656" y="490140"/>
                  <a:pt x="4501175" y="493255"/>
                  <a:pt x="4495038" y="499486"/>
                </a:cubicBezTo>
                <a:cubicBezTo>
                  <a:pt x="4488901" y="505717"/>
                  <a:pt x="4485833" y="513366"/>
                  <a:pt x="4485833" y="522408"/>
                </a:cubicBezTo>
                <a:cubicBezTo>
                  <a:pt x="4485833" y="531450"/>
                  <a:pt x="4488901" y="539099"/>
                  <a:pt x="4495038" y="545330"/>
                </a:cubicBezTo>
                <a:cubicBezTo>
                  <a:pt x="4501175" y="551560"/>
                  <a:pt x="4508656" y="554676"/>
                  <a:pt x="4517507" y="554676"/>
                </a:cubicBezTo>
                <a:cubicBezTo>
                  <a:pt x="4526332" y="554676"/>
                  <a:pt x="4533838" y="551560"/>
                  <a:pt x="4540026" y="545330"/>
                </a:cubicBezTo>
                <a:cubicBezTo>
                  <a:pt x="4546188" y="539099"/>
                  <a:pt x="4549282" y="531450"/>
                  <a:pt x="4549282" y="522408"/>
                </a:cubicBezTo>
                <a:cubicBezTo>
                  <a:pt x="4549282" y="513366"/>
                  <a:pt x="4546188" y="505742"/>
                  <a:pt x="4540026" y="499486"/>
                </a:cubicBezTo>
                <a:cubicBezTo>
                  <a:pt x="4533838" y="493255"/>
                  <a:pt x="4526332" y="490140"/>
                  <a:pt x="4517507" y="490140"/>
                </a:cubicBezTo>
                <a:close/>
                <a:moveTo>
                  <a:pt x="4887982" y="391994"/>
                </a:moveTo>
                <a:lnTo>
                  <a:pt x="4887982" y="415068"/>
                </a:lnTo>
                <a:lnTo>
                  <a:pt x="4892547" y="415068"/>
                </a:lnTo>
                <a:lnTo>
                  <a:pt x="4892547" y="400124"/>
                </a:lnTo>
                <a:lnTo>
                  <a:pt x="4899039" y="410813"/>
                </a:lnTo>
                <a:lnTo>
                  <a:pt x="4899571" y="410813"/>
                </a:lnTo>
                <a:lnTo>
                  <a:pt x="4906088" y="400099"/>
                </a:lnTo>
                <a:lnTo>
                  <a:pt x="4906088" y="415068"/>
                </a:lnTo>
                <a:lnTo>
                  <a:pt x="4910603" y="415068"/>
                </a:lnTo>
                <a:lnTo>
                  <a:pt x="4910603" y="391994"/>
                </a:lnTo>
                <a:lnTo>
                  <a:pt x="4905911" y="391994"/>
                </a:lnTo>
                <a:lnTo>
                  <a:pt x="4899318" y="402910"/>
                </a:lnTo>
                <a:lnTo>
                  <a:pt x="4892673" y="391994"/>
                </a:lnTo>
                <a:close/>
                <a:moveTo>
                  <a:pt x="4875581" y="391057"/>
                </a:moveTo>
                <a:cubicBezTo>
                  <a:pt x="4871625" y="391057"/>
                  <a:pt x="4867999" y="393564"/>
                  <a:pt x="4867999" y="397921"/>
                </a:cubicBezTo>
                <a:cubicBezTo>
                  <a:pt x="4867999" y="402303"/>
                  <a:pt x="4871422" y="403797"/>
                  <a:pt x="4874972" y="404810"/>
                </a:cubicBezTo>
                <a:cubicBezTo>
                  <a:pt x="4878396" y="405798"/>
                  <a:pt x="4879968" y="406456"/>
                  <a:pt x="4879968" y="408179"/>
                </a:cubicBezTo>
                <a:cubicBezTo>
                  <a:pt x="4879968" y="409470"/>
                  <a:pt x="4879005" y="410610"/>
                  <a:pt x="4876266" y="410610"/>
                </a:cubicBezTo>
                <a:cubicBezTo>
                  <a:pt x="4873400" y="410610"/>
                  <a:pt x="4871777" y="409217"/>
                  <a:pt x="4870940" y="407090"/>
                </a:cubicBezTo>
                <a:lnTo>
                  <a:pt x="4867035" y="409369"/>
                </a:lnTo>
                <a:cubicBezTo>
                  <a:pt x="4868278" y="412814"/>
                  <a:pt x="4871397" y="415068"/>
                  <a:pt x="4876114" y="415068"/>
                </a:cubicBezTo>
                <a:cubicBezTo>
                  <a:pt x="4881033" y="415068"/>
                  <a:pt x="4884508" y="412434"/>
                  <a:pt x="4884508" y="408103"/>
                </a:cubicBezTo>
                <a:cubicBezTo>
                  <a:pt x="4884508" y="403392"/>
                  <a:pt x="4880628" y="402176"/>
                  <a:pt x="4876951" y="401036"/>
                </a:cubicBezTo>
                <a:cubicBezTo>
                  <a:pt x="4873451" y="399972"/>
                  <a:pt x="4872563" y="399213"/>
                  <a:pt x="4872563" y="397794"/>
                </a:cubicBezTo>
                <a:cubicBezTo>
                  <a:pt x="4872563" y="396477"/>
                  <a:pt x="4873679" y="395489"/>
                  <a:pt x="4875606" y="395489"/>
                </a:cubicBezTo>
                <a:cubicBezTo>
                  <a:pt x="4877940" y="395489"/>
                  <a:pt x="4879208" y="396705"/>
                  <a:pt x="4880019" y="398453"/>
                </a:cubicBezTo>
                <a:lnTo>
                  <a:pt x="4883848" y="396249"/>
                </a:lnTo>
                <a:cubicBezTo>
                  <a:pt x="4882301" y="393007"/>
                  <a:pt x="4879385" y="391057"/>
                  <a:pt x="4875581" y="391057"/>
                </a:cubicBezTo>
                <a:close/>
                <a:moveTo>
                  <a:pt x="4228943" y="352584"/>
                </a:moveTo>
                <a:lnTo>
                  <a:pt x="4228961" y="352610"/>
                </a:lnTo>
                <a:lnTo>
                  <a:pt x="4228943" y="352610"/>
                </a:lnTo>
                <a:close/>
                <a:moveTo>
                  <a:pt x="4706054" y="291036"/>
                </a:moveTo>
                <a:cubicBezTo>
                  <a:pt x="4718759" y="291036"/>
                  <a:pt x="4729283" y="295216"/>
                  <a:pt x="4737652" y="303574"/>
                </a:cubicBezTo>
                <a:cubicBezTo>
                  <a:pt x="4746020" y="311932"/>
                  <a:pt x="4750205" y="322646"/>
                  <a:pt x="4750205" y="335766"/>
                </a:cubicBezTo>
                <a:cubicBezTo>
                  <a:pt x="4750205" y="348860"/>
                  <a:pt x="4746020" y="359599"/>
                  <a:pt x="4737652" y="367958"/>
                </a:cubicBezTo>
                <a:cubicBezTo>
                  <a:pt x="4729283" y="376316"/>
                  <a:pt x="4718759" y="380495"/>
                  <a:pt x="4706054" y="380495"/>
                </a:cubicBezTo>
                <a:cubicBezTo>
                  <a:pt x="4693349" y="380495"/>
                  <a:pt x="4682876" y="376316"/>
                  <a:pt x="4674609" y="367958"/>
                </a:cubicBezTo>
                <a:cubicBezTo>
                  <a:pt x="4666367" y="359599"/>
                  <a:pt x="4662233" y="348886"/>
                  <a:pt x="4662208" y="335766"/>
                </a:cubicBezTo>
                <a:cubicBezTo>
                  <a:pt x="4662208" y="322671"/>
                  <a:pt x="4666341" y="311932"/>
                  <a:pt x="4674609" y="303574"/>
                </a:cubicBezTo>
                <a:cubicBezTo>
                  <a:pt x="4682876" y="295216"/>
                  <a:pt x="4693349" y="291036"/>
                  <a:pt x="4706054" y="291036"/>
                </a:cubicBezTo>
                <a:close/>
                <a:moveTo>
                  <a:pt x="4269924" y="288808"/>
                </a:moveTo>
                <a:cubicBezTo>
                  <a:pt x="4279231" y="288808"/>
                  <a:pt x="4287549" y="291442"/>
                  <a:pt x="4294852" y="296736"/>
                </a:cubicBezTo>
                <a:cubicBezTo>
                  <a:pt x="4302155" y="302030"/>
                  <a:pt x="4306974" y="310058"/>
                  <a:pt x="4309307" y="320848"/>
                </a:cubicBezTo>
                <a:lnTo>
                  <a:pt x="4228309" y="320848"/>
                </a:lnTo>
                <a:cubicBezTo>
                  <a:pt x="4230642" y="310692"/>
                  <a:pt x="4235410" y="302815"/>
                  <a:pt x="4242612" y="297217"/>
                </a:cubicBezTo>
                <a:cubicBezTo>
                  <a:pt x="4249814" y="291620"/>
                  <a:pt x="4258918" y="288808"/>
                  <a:pt x="4269924" y="288808"/>
                </a:cubicBezTo>
                <a:close/>
                <a:moveTo>
                  <a:pt x="4407169" y="283686"/>
                </a:moveTo>
                <a:lnTo>
                  <a:pt x="4407169" y="283717"/>
                </a:lnTo>
                <a:lnTo>
                  <a:pt x="4407143" y="283717"/>
                </a:lnTo>
                <a:close/>
                <a:moveTo>
                  <a:pt x="4461463" y="256439"/>
                </a:moveTo>
                <a:lnTo>
                  <a:pt x="4521818" y="415068"/>
                </a:lnTo>
                <a:lnTo>
                  <a:pt x="4568530" y="415068"/>
                </a:lnTo>
                <a:lnTo>
                  <a:pt x="4628886" y="256439"/>
                </a:lnTo>
                <a:lnTo>
                  <a:pt x="4583771" y="256439"/>
                </a:lnTo>
                <a:lnTo>
                  <a:pt x="4545022" y="367477"/>
                </a:lnTo>
                <a:lnTo>
                  <a:pt x="4506577" y="256439"/>
                </a:lnTo>
                <a:close/>
                <a:moveTo>
                  <a:pt x="4455428" y="256413"/>
                </a:moveTo>
                <a:cubicBezTo>
                  <a:pt x="4444625" y="256413"/>
                  <a:pt x="4434836" y="255780"/>
                  <a:pt x="4426036" y="260871"/>
                </a:cubicBezTo>
                <a:lnTo>
                  <a:pt x="4407169" y="283686"/>
                </a:lnTo>
                <a:lnTo>
                  <a:pt x="4407169" y="256438"/>
                </a:lnTo>
                <a:lnTo>
                  <a:pt x="4366188" y="256438"/>
                </a:lnTo>
                <a:lnTo>
                  <a:pt x="4366188" y="415068"/>
                </a:lnTo>
                <a:lnTo>
                  <a:pt x="4407169" y="415068"/>
                </a:lnTo>
                <a:lnTo>
                  <a:pt x="4407169" y="339236"/>
                </a:lnTo>
                <a:cubicBezTo>
                  <a:pt x="4407169" y="324014"/>
                  <a:pt x="4412088" y="313123"/>
                  <a:pt x="4421928" y="306563"/>
                </a:cubicBezTo>
                <a:cubicBezTo>
                  <a:pt x="4431767" y="300003"/>
                  <a:pt x="4442925" y="297470"/>
                  <a:pt x="4455428" y="298939"/>
                </a:cubicBezTo>
                <a:close/>
                <a:moveTo>
                  <a:pt x="4269898" y="252032"/>
                </a:moveTo>
                <a:cubicBezTo>
                  <a:pt x="4245325" y="252032"/>
                  <a:pt x="4225215" y="260036"/>
                  <a:pt x="4209543" y="275992"/>
                </a:cubicBezTo>
                <a:cubicBezTo>
                  <a:pt x="4193871" y="291949"/>
                  <a:pt x="4186035" y="311882"/>
                  <a:pt x="4186035" y="335792"/>
                </a:cubicBezTo>
                <a:cubicBezTo>
                  <a:pt x="4186035" y="359904"/>
                  <a:pt x="4193998" y="379888"/>
                  <a:pt x="4209873" y="395743"/>
                </a:cubicBezTo>
                <a:cubicBezTo>
                  <a:pt x="4225773" y="411599"/>
                  <a:pt x="4246821" y="419526"/>
                  <a:pt x="4273094" y="419526"/>
                </a:cubicBezTo>
                <a:cubicBezTo>
                  <a:pt x="4303601" y="419526"/>
                  <a:pt x="4326678" y="408230"/>
                  <a:pt x="4342350" y="385587"/>
                </a:cubicBezTo>
                <a:lnTo>
                  <a:pt x="4309307" y="366540"/>
                </a:lnTo>
                <a:cubicBezTo>
                  <a:pt x="4301268" y="377102"/>
                  <a:pt x="4289400" y="382395"/>
                  <a:pt x="4273728" y="382395"/>
                </a:cubicBezTo>
                <a:cubicBezTo>
                  <a:pt x="4261556" y="382395"/>
                  <a:pt x="4251735" y="379913"/>
                  <a:pt x="4244270" y="374946"/>
                </a:cubicBezTo>
                <a:lnTo>
                  <a:pt x="4228961" y="352610"/>
                </a:lnTo>
                <a:lnTo>
                  <a:pt x="4348690" y="352610"/>
                </a:lnTo>
                <a:cubicBezTo>
                  <a:pt x="4349755" y="346683"/>
                  <a:pt x="4350288" y="341085"/>
                  <a:pt x="4350288" y="335792"/>
                </a:cubicBezTo>
                <a:cubicBezTo>
                  <a:pt x="4350288" y="312110"/>
                  <a:pt x="4342705" y="292228"/>
                  <a:pt x="4327566" y="276144"/>
                </a:cubicBezTo>
                <a:cubicBezTo>
                  <a:pt x="4312401" y="260061"/>
                  <a:pt x="4293178" y="252032"/>
                  <a:pt x="4269898" y="252032"/>
                </a:cubicBezTo>
                <a:close/>
                <a:moveTo>
                  <a:pt x="4698421" y="252006"/>
                </a:moveTo>
                <a:cubicBezTo>
                  <a:pt x="4677246" y="252006"/>
                  <a:pt x="4659089" y="260086"/>
                  <a:pt x="4643949" y="276270"/>
                </a:cubicBezTo>
                <a:cubicBezTo>
                  <a:pt x="4628784" y="292430"/>
                  <a:pt x="4621227" y="312261"/>
                  <a:pt x="4621227" y="335740"/>
                </a:cubicBezTo>
                <a:cubicBezTo>
                  <a:pt x="4621227" y="359219"/>
                  <a:pt x="4628810" y="379051"/>
                  <a:pt x="4643949" y="395236"/>
                </a:cubicBezTo>
                <a:cubicBezTo>
                  <a:pt x="4659089" y="411421"/>
                  <a:pt x="4677246" y="419500"/>
                  <a:pt x="4698421" y="419500"/>
                </a:cubicBezTo>
                <a:cubicBezTo>
                  <a:pt x="4720661" y="419500"/>
                  <a:pt x="4737931" y="411800"/>
                  <a:pt x="4750205" y="396350"/>
                </a:cubicBezTo>
                <a:lnTo>
                  <a:pt x="4750205" y="415068"/>
                </a:lnTo>
                <a:lnTo>
                  <a:pt x="4791185" y="415068"/>
                </a:lnTo>
                <a:lnTo>
                  <a:pt x="4791185" y="256438"/>
                </a:lnTo>
                <a:lnTo>
                  <a:pt x="4750205" y="256438"/>
                </a:lnTo>
                <a:lnTo>
                  <a:pt x="4750205" y="275181"/>
                </a:lnTo>
                <a:cubicBezTo>
                  <a:pt x="4737905" y="259731"/>
                  <a:pt x="4720661" y="252006"/>
                  <a:pt x="4698421" y="252006"/>
                </a:cubicBezTo>
                <a:close/>
                <a:moveTo>
                  <a:pt x="4003422" y="252006"/>
                </a:moveTo>
                <a:cubicBezTo>
                  <a:pt x="3981815" y="252006"/>
                  <a:pt x="3966042" y="259402"/>
                  <a:pt x="3956076" y="274193"/>
                </a:cubicBezTo>
                <a:lnTo>
                  <a:pt x="3956076" y="256438"/>
                </a:lnTo>
                <a:lnTo>
                  <a:pt x="3915095" y="256438"/>
                </a:lnTo>
                <a:lnTo>
                  <a:pt x="3915095" y="415093"/>
                </a:lnTo>
                <a:lnTo>
                  <a:pt x="3956076" y="415093"/>
                </a:lnTo>
                <a:lnTo>
                  <a:pt x="3956076" y="329434"/>
                </a:lnTo>
                <a:cubicBezTo>
                  <a:pt x="3956076" y="316314"/>
                  <a:pt x="3959246" y="306487"/>
                  <a:pt x="3965611" y="299927"/>
                </a:cubicBezTo>
                <a:cubicBezTo>
                  <a:pt x="3971951" y="293392"/>
                  <a:pt x="3980421" y="290099"/>
                  <a:pt x="3991021" y="290099"/>
                </a:cubicBezTo>
                <a:cubicBezTo>
                  <a:pt x="4000556" y="290099"/>
                  <a:pt x="4008164" y="292911"/>
                  <a:pt x="4013895" y="298508"/>
                </a:cubicBezTo>
                <a:cubicBezTo>
                  <a:pt x="4019601" y="304106"/>
                  <a:pt x="4022467" y="312211"/>
                  <a:pt x="4022467" y="322772"/>
                </a:cubicBezTo>
                <a:lnTo>
                  <a:pt x="4022467" y="415093"/>
                </a:lnTo>
                <a:lnTo>
                  <a:pt x="4063447" y="415093"/>
                </a:lnTo>
                <a:lnTo>
                  <a:pt x="4063447" y="317682"/>
                </a:lnTo>
                <a:cubicBezTo>
                  <a:pt x="4063447" y="297166"/>
                  <a:pt x="4057767" y="281083"/>
                  <a:pt x="4046457" y="269457"/>
                </a:cubicBezTo>
                <a:cubicBezTo>
                  <a:pt x="4035121" y="257831"/>
                  <a:pt x="4020793" y="252006"/>
                  <a:pt x="4003422" y="252006"/>
                </a:cubicBezTo>
                <a:close/>
                <a:moveTo>
                  <a:pt x="3844596" y="213052"/>
                </a:moveTo>
                <a:cubicBezTo>
                  <a:pt x="3844596" y="237240"/>
                  <a:pt x="3864224" y="256844"/>
                  <a:pt x="3888442" y="256844"/>
                </a:cubicBezTo>
                <a:lnTo>
                  <a:pt x="3844596" y="256844"/>
                </a:lnTo>
                <a:lnTo>
                  <a:pt x="3844596" y="414815"/>
                </a:lnTo>
                <a:lnTo>
                  <a:pt x="3888442" y="414815"/>
                </a:lnTo>
                <a:lnTo>
                  <a:pt x="3888442" y="256844"/>
                </a:lnTo>
                <a:lnTo>
                  <a:pt x="3888442" y="213052"/>
                </a:lnTo>
                <a:close/>
                <a:moveTo>
                  <a:pt x="4815657" y="212672"/>
                </a:moveTo>
                <a:lnTo>
                  <a:pt x="4815657" y="415094"/>
                </a:lnTo>
                <a:lnTo>
                  <a:pt x="4856638" y="415094"/>
                </a:lnTo>
                <a:lnTo>
                  <a:pt x="4856638" y="212672"/>
                </a:lnTo>
                <a:close/>
                <a:moveTo>
                  <a:pt x="4096821" y="212672"/>
                </a:moveTo>
                <a:cubicBezTo>
                  <a:pt x="4096821" y="224754"/>
                  <a:pt x="4101722" y="235695"/>
                  <a:pt x="4109653" y="243620"/>
                </a:cubicBezTo>
                <a:lnTo>
                  <a:pt x="4140607" y="256439"/>
                </a:lnTo>
                <a:lnTo>
                  <a:pt x="4099661" y="256439"/>
                </a:lnTo>
                <a:lnTo>
                  <a:pt x="4072019" y="256439"/>
                </a:lnTo>
                <a:lnTo>
                  <a:pt x="4072019" y="295799"/>
                </a:lnTo>
                <a:lnTo>
                  <a:pt x="4099661" y="295799"/>
                </a:lnTo>
                <a:lnTo>
                  <a:pt x="4099661" y="361778"/>
                </a:lnTo>
                <a:cubicBezTo>
                  <a:pt x="4099661" y="383560"/>
                  <a:pt x="4105443" y="398681"/>
                  <a:pt x="4116981" y="407141"/>
                </a:cubicBezTo>
                <a:cubicBezTo>
                  <a:pt x="4128520" y="415600"/>
                  <a:pt x="4148376" y="418234"/>
                  <a:pt x="4176550" y="415068"/>
                </a:cubicBezTo>
                <a:lnTo>
                  <a:pt x="4176550" y="377938"/>
                </a:lnTo>
                <a:cubicBezTo>
                  <a:pt x="4168714" y="378368"/>
                  <a:pt x="4162146" y="378393"/>
                  <a:pt x="4156846" y="378089"/>
                </a:cubicBezTo>
                <a:cubicBezTo>
                  <a:pt x="4151546" y="377786"/>
                  <a:pt x="4147514" y="376342"/>
                  <a:pt x="4144775" y="373809"/>
                </a:cubicBezTo>
                <a:cubicBezTo>
                  <a:pt x="4142011" y="371276"/>
                  <a:pt x="4140641" y="367249"/>
                  <a:pt x="4140641" y="361753"/>
                </a:cubicBezTo>
                <a:lnTo>
                  <a:pt x="4140641" y="295773"/>
                </a:lnTo>
                <a:lnTo>
                  <a:pt x="4176550" y="295773"/>
                </a:lnTo>
                <a:lnTo>
                  <a:pt x="4176550" y="256439"/>
                </a:lnTo>
                <a:lnTo>
                  <a:pt x="4140667" y="256439"/>
                </a:lnTo>
                <a:lnTo>
                  <a:pt x="4140667" y="212672"/>
                </a:lnTo>
                <a:close/>
                <a:moveTo>
                  <a:pt x="0" y="0"/>
                </a:moveTo>
                <a:lnTo>
                  <a:pt x="5181602" y="0"/>
                </a:lnTo>
                <a:lnTo>
                  <a:pt x="5181602" y="5184339"/>
                </a:lnTo>
                <a:cubicBezTo>
                  <a:pt x="2319494" y="5184339"/>
                  <a:pt x="0" y="2862726"/>
                  <a:pt x="0" y="0"/>
                </a:cubicBezTo>
                <a:close/>
              </a:path>
            </a:pathLst>
          </a:custGeom>
          <a:solidFill>
            <a:schemeClr val="accent3">
              <a:alpha val="40079"/>
            </a:schemeClr>
          </a:solidFill>
          <a:ln w="1905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71758"/>
              </a:solidFill>
              <a:effectLst/>
              <a:uLnTx/>
              <a:uFillTx/>
              <a:latin typeface="Urbanist Medium"/>
              <a:ea typeface="+mn-ea"/>
              <a:cs typeface="+mn-cs"/>
            </a:endParaRPr>
          </a:p>
        </p:txBody>
      </p:sp>
      <p:sp>
        <p:nvSpPr>
          <p:cNvPr id="7" name="Text Placeholder 2">
            <a:extLst>
              <a:ext uri="{FF2B5EF4-FFF2-40B4-BE49-F238E27FC236}">
                <a16:creationId xmlns:a16="http://schemas.microsoft.com/office/drawing/2014/main" id="{93407B19-2470-8225-721D-9D48852D2291}"/>
              </a:ext>
            </a:extLst>
          </p:cNvPr>
          <p:cNvSpPr>
            <a:spLocks noGrp="1"/>
          </p:cNvSpPr>
          <p:nvPr>
            <p:ph type="body" sz="quarter" idx="10"/>
          </p:nvPr>
        </p:nvSpPr>
        <p:spPr>
          <a:xfrm>
            <a:off x="550862" y="613507"/>
            <a:ext cx="11090275" cy="369332"/>
          </a:xfrm>
        </p:spPr>
        <p:txBody>
          <a:bodyPr lIns="0" tIns="0" rIns="0" bIns="0" anchor="b">
            <a:noAutofit/>
          </a:bodyPr>
          <a:lstStyle>
            <a:lvl1pPr marL="0" indent="0">
              <a:lnSpc>
                <a:spcPct val="100000"/>
              </a:lnSpc>
              <a:spcBef>
                <a:spcPts val="0"/>
              </a:spcBef>
              <a:buNone/>
              <a:defRPr sz="2800" b="1">
                <a:solidFill>
                  <a:schemeClr val="tx2"/>
                </a:solidFill>
                <a:latin typeface="+mj-lt"/>
              </a:defRPr>
            </a:lvl1pPr>
          </a:lstStyle>
          <a:p>
            <a:pPr lvl="0"/>
            <a:r>
              <a:rPr lang="en-US"/>
              <a:t>Click to edit Master text style</a:t>
            </a:r>
          </a:p>
        </p:txBody>
      </p:sp>
      <p:sp>
        <p:nvSpPr>
          <p:cNvPr id="8" name="Text Placeholder 2">
            <a:extLst>
              <a:ext uri="{FF2B5EF4-FFF2-40B4-BE49-F238E27FC236}">
                <a16:creationId xmlns:a16="http://schemas.microsoft.com/office/drawing/2014/main" id="{4F1B296A-A77C-AC48-4D47-128AA9FC6AF6}"/>
              </a:ext>
            </a:extLst>
          </p:cNvPr>
          <p:cNvSpPr>
            <a:spLocks noGrp="1"/>
          </p:cNvSpPr>
          <p:nvPr>
            <p:ph type="body" sz="quarter" idx="11" hasCustomPrompt="1"/>
          </p:nvPr>
        </p:nvSpPr>
        <p:spPr>
          <a:xfrm>
            <a:off x="550862" y="1116917"/>
            <a:ext cx="11090275" cy="246221"/>
          </a:xfrm>
        </p:spPr>
        <p:txBody>
          <a:bodyPr lIns="0" tIns="0" rIns="0" bIns="0" anchor="t">
            <a:noAutofit/>
          </a:bodyPr>
          <a:lstStyle>
            <a:lvl1pPr marL="0" indent="0">
              <a:lnSpc>
                <a:spcPct val="100000"/>
              </a:lnSpc>
              <a:spcBef>
                <a:spcPts val="0"/>
              </a:spcBef>
              <a:buNone/>
              <a:defRPr sz="1800" b="0">
                <a:solidFill>
                  <a:schemeClr val="tx2"/>
                </a:solidFill>
              </a:defRPr>
            </a:lvl1pPr>
          </a:lstStyle>
          <a:p>
            <a:pPr lvl="0"/>
            <a:r>
              <a:rPr lang="en-US"/>
              <a:t>Subtitle</a:t>
            </a:r>
          </a:p>
        </p:txBody>
      </p:sp>
      <p:sp>
        <p:nvSpPr>
          <p:cNvPr id="12" name="Slide Number Placeholder 5">
            <a:extLst>
              <a:ext uri="{FF2B5EF4-FFF2-40B4-BE49-F238E27FC236}">
                <a16:creationId xmlns:a16="http://schemas.microsoft.com/office/drawing/2014/main" id="{E399722A-98DF-32E8-5755-E851D0C5DF4D}"/>
              </a:ext>
            </a:extLst>
          </p:cNvPr>
          <p:cNvSpPr>
            <a:spLocks noGrp="1"/>
          </p:cNvSpPr>
          <p:nvPr>
            <p:ph type="sldNum" sz="quarter" idx="4"/>
          </p:nvPr>
        </p:nvSpPr>
        <p:spPr>
          <a:xfrm>
            <a:off x="11087100" y="6564440"/>
            <a:ext cx="554038" cy="138499"/>
          </a:xfrm>
          <a:prstGeom prst="rect">
            <a:avLst/>
          </a:prstGeom>
        </p:spPr>
        <p:txBody>
          <a:bodyPr wrap="square" lIns="0" tIns="0" rIns="0" bIns="0" anchor="ctr">
            <a:normAutofit/>
          </a:bodyPr>
          <a:lstStyle>
            <a:lvl1pPr algn="r">
              <a:defRPr sz="900">
                <a:solidFill>
                  <a:schemeClr val="tx1"/>
                </a:solidFill>
              </a:defRPr>
            </a:lvl1pPr>
          </a:lstStyle>
          <a:p>
            <a:fld id="{0E88EC54-15BE-9740-A323-DA3E96F2F863}" type="slidenum">
              <a:rPr lang="en-US" smtClean="0"/>
              <a:pPr/>
              <a:t>‹#›</a:t>
            </a:fld>
            <a:endParaRPr lang="en-US"/>
          </a:p>
        </p:txBody>
      </p:sp>
      <p:pic>
        <p:nvPicPr>
          <p:cNvPr id="3" name="Graphic 2">
            <a:extLst>
              <a:ext uri="{FF2B5EF4-FFF2-40B4-BE49-F238E27FC236}">
                <a16:creationId xmlns:a16="http://schemas.microsoft.com/office/drawing/2014/main" id="{85B703CB-1F9D-74BC-AE2D-C22C65E7133E}"/>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595317" y="-62632"/>
            <a:ext cx="1584960" cy="894079"/>
          </a:xfrm>
          <a:prstGeom prst="rect">
            <a:avLst/>
          </a:prstGeom>
        </p:spPr>
      </p:pic>
    </p:spTree>
    <p:extLst>
      <p:ext uri="{BB962C8B-B14F-4D97-AF65-F5344CB8AC3E}">
        <p14:creationId xmlns:p14="http://schemas.microsoft.com/office/powerpoint/2010/main" val="5560976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with text_1">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DEEE0A2-3D50-DF9A-2ED0-17045483DFB0}"/>
              </a:ext>
            </a:extLst>
          </p:cNvPr>
          <p:cNvGraphicFramePr>
            <a:graphicFrameLocks noChangeAspect="1"/>
          </p:cNvGraphicFramePr>
          <p:nvPr userDrawn="1">
            <p:custDataLst>
              <p:tags r:id="rId1"/>
            </p:custDataLst>
            <p:extLst>
              <p:ext uri="{D42A27DB-BD31-4B8C-83A1-F6EECF244321}">
                <p14:modId xmlns:p14="http://schemas.microsoft.com/office/powerpoint/2010/main" val="268080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3" name="think-cell data - do not delete" hidden="1">
                        <a:extLst>
                          <a:ext uri="{FF2B5EF4-FFF2-40B4-BE49-F238E27FC236}">
                            <a16:creationId xmlns:a16="http://schemas.microsoft.com/office/drawing/2014/main" id="{ADEEE0A2-3D50-DF9A-2ED0-17045483DF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5" name="Freeform: Shape 64">
            <a:extLst>
              <a:ext uri="{FF2B5EF4-FFF2-40B4-BE49-F238E27FC236}">
                <a16:creationId xmlns:a16="http://schemas.microsoft.com/office/drawing/2014/main" id="{AD126933-8F79-A455-CF74-97C076E0C475}"/>
              </a:ext>
            </a:extLst>
          </p:cNvPr>
          <p:cNvSpPr/>
          <p:nvPr userDrawn="1"/>
        </p:nvSpPr>
        <p:spPr>
          <a:xfrm>
            <a:off x="7010400" y="315"/>
            <a:ext cx="5181602" cy="6857685"/>
          </a:xfrm>
          <a:custGeom>
            <a:avLst/>
            <a:gdLst>
              <a:gd name="connsiteX0" fmla="*/ 0 w 5181602"/>
              <a:gd name="connsiteY0" fmla="*/ 5184339 h 6857685"/>
              <a:gd name="connsiteX1" fmla="*/ 5181602 w 5181602"/>
              <a:gd name="connsiteY1" fmla="*/ 5184339 h 6857685"/>
              <a:gd name="connsiteX2" fmla="*/ 5181602 w 5181602"/>
              <a:gd name="connsiteY2" fmla="*/ 6857685 h 6857685"/>
              <a:gd name="connsiteX3" fmla="*/ 0 w 5181602"/>
              <a:gd name="connsiteY3" fmla="*/ 6857685 h 6857685"/>
              <a:gd name="connsiteX4" fmla="*/ 4650365 w 5181602"/>
              <a:gd name="connsiteY4" fmla="*/ 505489 h 6857685"/>
              <a:gd name="connsiteX5" fmla="*/ 4658734 w 5181602"/>
              <a:gd name="connsiteY5" fmla="*/ 530842 h 6857685"/>
              <a:gd name="connsiteX6" fmla="*/ 4641996 w 5181602"/>
              <a:gd name="connsiteY6" fmla="*/ 530842 h 6857685"/>
              <a:gd name="connsiteX7" fmla="*/ 4372046 w 5181602"/>
              <a:gd name="connsiteY7" fmla="*/ 505489 h 6857685"/>
              <a:gd name="connsiteX8" fmla="*/ 4380415 w 5181602"/>
              <a:gd name="connsiteY8" fmla="*/ 530842 h 6857685"/>
              <a:gd name="connsiteX9" fmla="*/ 4363677 w 5181602"/>
              <a:gd name="connsiteY9" fmla="*/ 530842 h 6857685"/>
              <a:gd name="connsiteX10" fmla="*/ 4237870 w 5181602"/>
              <a:gd name="connsiteY10" fmla="*/ 502804 h 6857685"/>
              <a:gd name="connsiteX11" fmla="*/ 4250270 w 5181602"/>
              <a:gd name="connsiteY11" fmla="*/ 502804 h 6857685"/>
              <a:gd name="connsiteX12" fmla="*/ 4256103 w 5181602"/>
              <a:gd name="connsiteY12" fmla="*/ 505463 h 6857685"/>
              <a:gd name="connsiteX13" fmla="*/ 4258538 w 5181602"/>
              <a:gd name="connsiteY13" fmla="*/ 511947 h 6857685"/>
              <a:gd name="connsiteX14" fmla="*/ 4256103 w 5181602"/>
              <a:gd name="connsiteY14" fmla="*/ 518457 h 6857685"/>
              <a:gd name="connsiteX15" fmla="*/ 4250270 w 5181602"/>
              <a:gd name="connsiteY15" fmla="*/ 521167 h 6857685"/>
              <a:gd name="connsiteX16" fmla="*/ 4237870 w 5181602"/>
              <a:gd name="connsiteY16" fmla="*/ 521167 h 6857685"/>
              <a:gd name="connsiteX17" fmla="*/ 4517507 w 5181602"/>
              <a:gd name="connsiteY17" fmla="*/ 502019 h 6857685"/>
              <a:gd name="connsiteX18" fmla="*/ 4531556 w 5181602"/>
              <a:gd name="connsiteY18" fmla="*/ 507794 h 6857685"/>
              <a:gd name="connsiteX19" fmla="*/ 4537236 w 5181602"/>
              <a:gd name="connsiteY19" fmla="*/ 522408 h 6857685"/>
              <a:gd name="connsiteX20" fmla="*/ 4531556 w 5181602"/>
              <a:gd name="connsiteY20" fmla="*/ 536997 h 6857685"/>
              <a:gd name="connsiteX21" fmla="*/ 4517507 w 5181602"/>
              <a:gd name="connsiteY21" fmla="*/ 542721 h 6857685"/>
              <a:gd name="connsiteX22" fmla="*/ 4503458 w 5181602"/>
              <a:gd name="connsiteY22" fmla="*/ 536997 h 6857685"/>
              <a:gd name="connsiteX23" fmla="*/ 4497777 w 5181602"/>
              <a:gd name="connsiteY23" fmla="*/ 522408 h 6857685"/>
              <a:gd name="connsiteX24" fmla="*/ 4503458 w 5181602"/>
              <a:gd name="connsiteY24" fmla="*/ 507794 h 6857685"/>
              <a:gd name="connsiteX25" fmla="*/ 4517507 w 5181602"/>
              <a:gd name="connsiteY25" fmla="*/ 502019 h 6857685"/>
              <a:gd name="connsiteX26" fmla="*/ 4690432 w 5181602"/>
              <a:gd name="connsiteY26" fmla="*/ 491381 h 6857685"/>
              <a:gd name="connsiteX27" fmla="*/ 4690432 w 5181602"/>
              <a:gd name="connsiteY27" fmla="*/ 553435 h 6857685"/>
              <a:gd name="connsiteX28" fmla="*/ 4725758 w 5181602"/>
              <a:gd name="connsiteY28" fmla="*/ 553435 h 6857685"/>
              <a:gd name="connsiteX29" fmla="*/ 4725758 w 5181602"/>
              <a:gd name="connsiteY29" fmla="*/ 541733 h 6857685"/>
              <a:gd name="connsiteX30" fmla="*/ 4702478 w 5181602"/>
              <a:gd name="connsiteY30" fmla="*/ 541733 h 6857685"/>
              <a:gd name="connsiteX31" fmla="*/ 4702478 w 5181602"/>
              <a:gd name="connsiteY31" fmla="*/ 491381 h 6857685"/>
              <a:gd name="connsiteX32" fmla="*/ 4642884 w 5181602"/>
              <a:gd name="connsiteY32" fmla="*/ 491381 h 6857685"/>
              <a:gd name="connsiteX33" fmla="*/ 4621506 w 5181602"/>
              <a:gd name="connsiteY33" fmla="*/ 553435 h 6857685"/>
              <a:gd name="connsiteX34" fmla="*/ 4634515 w 5181602"/>
              <a:gd name="connsiteY34" fmla="*/ 553435 h 6857685"/>
              <a:gd name="connsiteX35" fmla="*/ 4638167 w 5181602"/>
              <a:gd name="connsiteY35" fmla="*/ 542265 h 6857685"/>
              <a:gd name="connsiteX36" fmla="*/ 4662512 w 5181602"/>
              <a:gd name="connsiteY36" fmla="*/ 542265 h 6857685"/>
              <a:gd name="connsiteX37" fmla="*/ 4666189 w 5181602"/>
              <a:gd name="connsiteY37" fmla="*/ 553435 h 6857685"/>
              <a:gd name="connsiteX38" fmla="*/ 4679275 w 5181602"/>
              <a:gd name="connsiteY38" fmla="*/ 553435 h 6857685"/>
              <a:gd name="connsiteX39" fmla="*/ 4657821 w 5181602"/>
              <a:gd name="connsiteY39" fmla="*/ 491381 h 6857685"/>
              <a:gd name="connsiteX40" fmla="*/ 4562951 w 5181602"/>
              <a:gd name="connsiteY40" fmla="*/ 491381 h 6857685"/>
              <a:gd name="connsiteX41" fmla="*/ 4562951 w 5181602"/>
              <a:gd name="connsiteY41" fmla="*/ 553435 h 6857685"/>
              <a:gd name="connsiteX42" fmla="*/ 4574997 w 5181602"/>
              <a:gd name="connsiteY42" fmla="*/ 553435 h 6857685"/>
              <a:gd name="connsiteX43" fmla="*/ 4574997 w 5181602"/>
              <a:gd name="connsiteY43" fmla="*/ 515493 h 6857685"/>
              <a:gd name="connsiteX44" fmla="*/ 4601167 w 5181602"/>
              <a:gd name="connsiteY44" fmla="*/ 553435 h 6857685"/>
              <a:gd name="connsiteX45" fmla="*/ 4610348 w 5181602"/>
              <a:gd name="connsiteY45" fmla="*/ 553435 h 6857685"/>
              <a:gd name="connsiteX46" fmla="*/ 4610348 w 5181602"/>
              <a:gd name="connsiteY46" fmla="*/ 491381 h 6857685"/>
              <a:gd name="connsiteX47" fmla="*/ 4598302 w 5181602"/>
              <a:gd name="connsiteY47" fmla="*/ 491381 h 6857685"/>
              <a:gd name="connsiteX48" fmla="*/ 4598302 w 5181602"/>
              <a:gd name="connsiteY48" fmla="*/ 529246 h 6857685"/>
              <a:gd name="connsiteX49" fmla="*/ 4572131 w 5181602"/>
              <a:gd name="connsiteY49" fmla="*/ 491381 h 6857685"/>
              <a:gd name="connsiteX50" fmla="*/ 4460017 w 5181602"/>
              <a:gd name="connsiteY50" fmla="*/ 491381 h 6857685"/>
              <a:gd name="connsiteX51" fmla="*/ 4460017 w 5181602"/>
              <a:gd name="connsiteY51" fmla="*/ 553435 h 6857685"/>
              <a:gd name="connsiteX52" fmla="*/ 4472063 w 5181602"/>
              <a:gd name="connsiteY52" fmla="*/ 553435 h 6857685"/>
              <a:gd name="connsiteX53" fmla="*/ 4472063 w 5181602"/>
              <a:gd name="connsiteY53" fmla="*/ 491381 h 6857685"/>
              <a:gd name="connsiteX54" fmla="*/ 4403111 w 5181602"/>
              <a:gd name="connsiteY54" fmla="*/ 491381 h 6857685"/>
              <a:gd name="connsiteX55" fmla="*/ 4403111 w 5181602"/>
              <a:gd name="connsiteY55" fmla="*/ 503083 h 6857685"/>
              <a:gd name="connsiteX56" fmla="*/ 4419518 w 5181602"/>
              <a:gd name="connsiteY56" fmla="*/ 503083 h 6857685"/>
              <a:gd name="connsiteX57" fmla="*/ 4419518 w 5181602"/>
              <a:gd name="connsiteY57" fmla="*/ 553435 h 6857685"/>
              <a:gd name="connsiteX58" fmla="*/ 4431564 w 5181602"/>
              <a:gd name="connsiteY58" fmla="*/ 553435 h 6857685"/>
              <a:gd name="connsiteX59" fmla="*/ 4431564 w 5181602"/>
              <a:gd name="connsiteY59" fmla="*/ 503083 h 6857685"/>
              <a:gd name="connsiteX60" fmla="*/ 4448048 w 5181602"/>
              <a:gd name="connsiteY60" fmla="*/ 503083 h 6857685"/>
              <a:gd name="connsiteX61" fmla="*/ 4448048 w 5181602"/>
              <a:gd name="connsiteY61" fmla="*/ 491381 h 6857685"/>
              <a:gd name="connsiteX62" fmla="*/ 4364565 w 5181602"/>
              <a:gd name="connsiteY62" fmla="*/ 491381 h 6857685"/>
              <a:gd name="connsiteX63" fmla="*/ 4343187 w 5181602"/>
              <a:gd name="connsiteY63" fmla="*/ 553435 h 6857685"/>
              <a:gd name="connsiteX64" fmla="*/ 4356196 w 5181602"/>
              <a:gd name="connsiteY64" fmla="*/ 553435 h 6857685"/>
              <a:gd name="connsiteX65" fmla="*/ 4359873 w 5181602"/>
              <a:gd name="connsiteY65" fmla="*/ 542265 h 6857685"/>
              <a:gd name="connsiteX66" fmla="*/ 4384218 w 5181602"/>
              <a:gd name="connsiteY66" fmla="*/ 542265 h 6857685"/>
              <a:gd name="connsiteX67" fmla="*/ 4387870 w 5181602"/>
              <a:gd name="connsiteY67" fmla="*/ 553435 h 6857685"/>
              <a:gd name="connsiteX68" fmla="*/ 4400956 w 5181602"/>
              <a:gd name="connsiteY68" fmla="*/ 553435 h 6857685"/>
              <a:gd name="connsiteX69" fmla="*/ 4379502 w 5181602"/>
              <a:gd name="connsiteY69" fmla="*/ 491381 h 6857685"/>
              <a:gd name="connsiteX70" fmla="*/ 4284632 w 5181602"/>
              <a:gd name="connsiteY70" fmla="*/ 491381 h 6857685"/>
              <a:gd name="connsiteX71" fmla="*/ 4284632 w 5181602"/>
              <a:gd name="connsiteY71" fmla="*/ 553435 h 6857685"/>
              <a:gd name="connsiteX72" fmla="*/ 4296678 w 5181602"/>
              <a:gd name="connsiteY72" fmla="*/ 553435 h 6857685"/>
              <a:gd name="connsiteX73" fmla="*/ 4296678 w 5181602"/>
              <a:gd name="connsiteY73" fmla="*/ 515493 h 6857685"/>
              <a:gd name="connsiteX74" fmla="*/ 4322848 w 5181602"/>
              <a:gd name="connsiteY74" fmla="*/ 553435 h 6857685"/>
              <a:gd name="connsiteX75" fmla="*/ 4332003 w 5181602"/>
              <a:gd name="connsiteY75" fmla="*/ 553435 h 6857685"/>
              <a:gd name="connsiteX76" fmla="*/ 4332003 w 5181602"/>
              <a:gd name="connsiteY76" fmla="*/ 491381 h 6857685"/>
              <a:gd name="connsiteX77" fmla="*/ 4319983 w 5181602"/>
              <a:gd name="connsiteY77" fmla="*/ 491381 h 6857685"/>
              <a:gd name="connsiteX78" fmla="*/ 4319983 w 5181602"/>
              <a:gd name="connsiteY78" fmla="*/ 529246 h 6857685"/>
              <a:gd name="connsiteX79" fmla="*/ 4293787 w 5181602"/>
              <a:gd name="connsiteY79" fmla="*/ 491381 h 6857685"/>
              <a:gd name="connsiteX80" fmla="*/ 4225824 w 5181602"/>
              <a:gd name="connsiteY80" fmla="*/ 491381 h 6857685"/>
              <a:gd name="connsiteX81" fmla="*/ 4225824 w 5181602"/>
              <a:gd name="connsiteY81" fmla="*/ 553435 h 6857685"/>
              <a:gd name="connsiteX82" fmla="*/ 4237870 w 5181602"/>
              <a:gd name="connsiteY82" fmla="*/ 553435 h 6857685"/>
              <a:gd name="connsiteX83" fmla="*/ 4237870 w 5181602"/>
              <a:gd name="connsiteY83" fmla="*/ 531906 h 6857685"/>
              <a:gd name="connsiteX84" fmla="*/ 4247024 w 5181602"/>
              <a:gd name="connsiteY84" fmla="*/ 531906 h 6857685"/>
              <a:gd name="connsiteX85" fmla="*/ 4259324 w 5181602"/>
              <a:gd name="connsiteY85" fmla="*/ 553435 h 6857685"/>
              <a:gd name="connsiteX86" fmla="*/ 4272333 w 5181602"/>
              <a:gd name="connsiteY86" fmla="*/ 553435 h 6857685"/>
              <a:gd name="connsiteX87" fmla="*/ 4258817 w 5181602"/>
              <a:gd name="connsiteY87" fmla="*/ 530032 h 6857685"/>
              <a:gd name="connsiteX88" fmla="*/ 4267363 w 5181602"/>
              <a:gd name="connsiteY88" fmla="*/ 522636 h 6857685"/>
              <a:gd name="connsiteX89" fmla="*/ 4270583 w 5181602"/>
              <a:gd name="connsiteY89" fmla="*/ 511947 h 6857685"/>
              <a:gd name="connsiteX90" fmla="*/ 4264649 w 5181602"/>
              <a:gd name="connsiteY90" fmla="*/ 497409 h 6857685"/>
              <a:gd name="connsiteX91" fmla="*/ 4250245 w 5181602"/>
              <a:gd name="connsiteY91" fmla="*/ 491381 h 6857685"/>
              <a:gd name="connsiteX92" fmla="*/ 4174344 w 5181602"/>
              <a:gd name="connsiteY92" fmla="*/ 491381 h 6857685"/>
              <a:gd name="connsiteX93" fmla="*/ 4174344 w 5181602"/>
              <a:gd name="connsiteY93" fmla="*/ 553435 h 6857685"/>
              <a:gd name="connsiteX94" fmla="*/ 4212129 w 5181602"/>
              <a:gd name="connsiteY94" fmla="*/ 553435 h 6857685"/>
              <a:gd name="connsiteX95" fmla="*/ 4212129 w 5181602"/>
              <a:gd name="connsiteY95" fmla="*/ 541733 h 6857685"/>
              <a:gd name="connsiteX96" fmla="*/ 4186390 w 5181602"/>
              <a:gd name="connsiteY96" fmla="*/ 541733 h 6857685"/>
              <a:gd name="connsiteX97" fmla="*/ 4186390 w 5181602"/>
              <a:gd name="connsiteY97" fmla="*/ 527828 h 6857685"/>
              <a:gd name="connsiteX98" fmla="*/ 4209517 w 5181602"/>
              <a:gd name="connsiteY98" fmla="*/ 527828 h 6857685"/>
              <a:gd name="connsiteX99" fmla="*/ 4209517 w 5181602"/>
              <a:gd name="connsiteY99" fmla="*/ 516304 h 6857685"/>
              <a:gd name="connsiteX100" fmla="*/ 4186390 w 5181602"/>
              <a:gd name="connsiteY100" fmla="*/ 516304 h 6857685"/>
              <a:gd name="connsiteX101" fmla="*/ 4186390 w 5181602"/>
              <a:gd name="connsiteY101" fmla="*/ 503083 h 6857685"/>
              <a:gd name="connsiteX102" fmla="*/ 4211698 w 5181602"/>
              <a:gd name="connsiteY102" fmla="*/ 503083 h 6857685"/>
              <a:gd name="connsiteX103" fmla="*/ 4211698 w 5181602"/>
              <a:gd name="connsiteY103" fmla="*/ 491381 h 6857685"/>
              <a:gd name="connsiteX104" fmla="*/ 4117463 w 5181602"/>
              <a:gd name="connsiteY104" fmla="*/ 491381 h 6857685"/>
              <a:gd name="connsiteX105" fmla="*/ 4117463 w 5181602"/>
              <a:gd name="connsiteY105" fmla="*/ 503083 h 6857685"/>
              <a:gd name="connsiteX106" fmla="*/ 4133871 w 5181602"/>
              <a:gd name="connsiteY106" fmla="*/ 503083 h 6857685"/>
              <a:gd name="connsiteX107" fmla="*/ 4133871 w 5181602"/>
              <a:gd name="connsiteY107" fmla="*/ 553435 h 6857685"/>
              <a:gd name="connsiteX108" fmla="*/ 4145916 w 5181602"/>
              <a:gd name="connsiteY108" fmla="*/ 553435 h 6857685"/>
              <a:gd name="connsiteX109" fmla="*/ 4145916 w 5181602"/>
              <a:gd name="connsiteY109" fmla="*/ 503083 h 6857685"/>
              <a:gd name="connsiteX110" fmla="*/ 4162400 w 5181602"/>
              <a:gd name="connsiteY110" fmla="*/ 503083 h 6857685"/>
              <a:gd name="connsiteX111" fmla="*/ 4162400 w 5181602"/>
              <a:gd name="connsiteY111" fmla="*/ 491381 h 6857685"/>
              <a:gd name="connsiteX112" fmla="*/ 4058046 w 5181602"/>
              <a:gd name="connsiteY112" fmla="*/ 491381 h 6857685"/>
              <a:gd name="connsiteX113" fmla="*/ 4058046 w 5181602"/>
              <a:gd name="connsiteY113" fmla="*/ 553435 h 6857685"/>
              <a:gd name="connsiteX114" fmla="*/ 4070092 w 5181602"/>
              <a:gd name="connsiteY114" fmla="*/ 553435 h 6857685"/>
              <a:gd name="connsiteX115" fmla="*/ 4070092 w 5181602"/>
              <a:gd name="connsiteY115" fmla="*/ 515493 h 6857685"/>
              <a:gd name="connsiteX116" fmla="*/ 4096263 w 5181602"/>
              <a:gd name="connsiteY116" fmla="*/ 553435 h 6857685"/>
              <a:gd name="connsiteX117" fmla="*/ 4105417 w 5181602"/>
              <a:gd name="connsiteY117" fmla="*/ 553435 h 6857685"/>
              <a:gd name="connsiteX118" fmla="*/ 4105417 w 5181602"/>
              <a:gd name="connsiteY118" fmla="*/ 491381 h 6857685"/>
              <a:gd name="connsiteX119" fmla="*/ 4093372 w 5181602"/>
              <a:gd name="connsiteY119" fmla="*/ 491381 h 6857685"/>
              <a:gd name="connsiteX120" fmla="*/ 4093372 w 5181602"/>
              <a:gd name="connsiteY120" fmla="*/ 529246 h 6857685"/>
              <a:gd name="connsiteX121" fmla="*/ 4067201 w 5181602"/>
              <a:gd name="connsiteY121" fmla="*/ 491381 h 6857685"/>
              <a:gd name="connsiteX122" fmla="*/ 4029441 w 5181602"/>
              <a:gd name="connsiteY122" fmla="*/ 491381 h 6857685"/>
              <a:gd name="connsiteX123" fmla="*/ 4029441 w 5181602"/>
              <a:gd name="connsiteY123" fmla="*/ 553435 h 6857685"/>
              <a:gd name="connsiteX124" fmla="*/ 4041487 w 5181602"/>
              <a:gd name="connsiteY124" fmla="*/ 553435 h 6857685"/>
              <a:gd name="connsiteX125" fmla="*/ 4041487 w 5181602"/>
              <a:gd name="connsiteY125" fmla="*/ 491381 h 6857685"/>
              <a:gd name="connsiteX126" fmla="*/ 4517507 w 5181602"/>
              <a:gd name="connsiteY126" fmla="*/ 490140 h 6857685"/>
              <a:gd name="connsiteX127" fmla="*/ 4495038 w 5181602"/>
              <a:gd name="connsiteY127" fmla="*/ 499486 h 6857685"/>
              <a:gd name="connsiteX128" fmla="*/ 4485833 w 5181602"/>
              <a:gd name="connsiteY128" fmla="*/ 522408 h 6857685"/>
              <a:gd name="connsiteX129" fmla="*/ 4495038 w 5181602"/>
              <a:gd name="connsiteY129" fmla="*/ 545330 h 6857685"/>
              <a:gd name="connsiteX130" fmla="*/ 4517507 w 5181602"/>
              <a:gd name="connsiteY130" fmla="*/ 554676 h 6857685"/>
              <a:gd name="connsiteX131" fmla="*/ 4540026 w 5181602"/>
              <a:gd name="connsiteY131" fmla="*/ 545330 h 6857685"/>
              <a:gd name="connsiteX132" fmla="*/ 4549282 w 5181602"/>
              <a:gd name="connsiteY132" fmla="*/ 522408 h 6857685"/>
              <a:gd name="connsiteX133" fmla="*/ 4540026 w 5181602"/>
              <a:gd name="connsiteY133" fmla="*/ 499486 h 6857685"/>
              <a:gd name="connsiteX134" fmla="*/ 4517507 w 5181602"/>
              <a:gd name="connsiteY134" fmla="*/ 490140 h 6857685"/>
              <a:gd name="connsiteX135" fmla="*/ 4887982 w 5181602"/>
              <a:gd name="connsiteY135" fmla="*/ 391994 h 6857685"/>
              <a:gd name="connsiteX136" fmla="*/ 4887982 w 5181602"/>
              <a:gd name="connsiteY136" fmla="*/ 415068 h 6857685"/>
              <a:gd name="connsiteX137" fmla="*/ 4892547 w 5181602"/>
              <a:gd name="connsiteY137" fmla="*/ 415068 h 6857685"/>
              <a:gd name="connsiteX138" fmla="*/ 4892547 w 5181602"/>
              <a:gd name="connsiteY138" fmla="*/ 400124 h 6857685"/>
              <a:gd name="connsiteX139" fmla="*/ 4899039 w 5181602"/>
              <a:gd name="connsiteY139" fmla="*/ 410813 h 6857685"/>
              <a:gd name="connsiteX140" fmla="*/ 4899571 w 5181602"/>
              <a:gd name="connsiteY140" fmla="*/ 410813 h 6857685"/>
              <a:gd name="connsiteX141" fmla="*/ 4906088 w 5181602"/>
              <a:gd name="connsiteY141" fmla="*/ 400099 h 6857685"/>
              <a:gd name="connsiteX142" fmla="*/ 4906088 w 5181602"/>
              <a:gd name="connsiteY142" fmla="*/ 415068 h 6857685"/>
              <a:gd name="connsiteX143" fmla="*/ 4910603 w 5181602"/>
              <a:gd name="connsiteY143" fmla="*/ 415068 h 6857685"/>
              <a:gd name="connsiteX144" fmla="*/ 4910603 w 5181602"/>
              <a:gd name="connsiteY144" fmla="*/ 391994 h 6857685"/>
              <a:gd name="connsiteX145" fmla="*/ 4905911 w 5181602"/>
              <a:gd name="connsiteY145" fmla="*/ 391994 h 6857685"/>
              <a:gd name="connsiteX146" fmla="*/ 4899318 w 5181602"/>
              <a:gd name="connsiteY146" fmla="*/ 402910 h 6857685"/>
              <a:gd name="connsiteX147" fmla="*/ 4892673 w 5181602"/>
              <a:gd name="connsiteY147" fmla="*/ 391994 h 6857685"/>
              <a:gd name="connsiteX148" fmla="*/ 4875581 w 5181602"/>
              <a:gd name="connsiteY148" fmla="*/ 391057 h 6857685"/>
              <a:gd name="connsiteX149" fmla="*/ 4867999 w 5181602"/>
              <a:gd name="connsiteY149" fmla="*/ 397921 h 6857685"/>
              <a:gd name="connsiteX150" fmla="*/ 4874972 w 5181602"/>
              <a:gd name="connsiteY150" fmla="*/ 404810 h 6857685"/>
              <a:gd name="connsiteX151" fmla="*/ 4879968 w 5181602"/>
              <a:gd name="connsiteY151" fmla="*/ 408179 h 6857685"/>
              <a:gd name="connsiteX152" fmla="*/ 4876266 w 5181602"/>
              <a:gd name="connsiteY152" fmla="*/ 410610 h 6857685"/>
              <a:gd name="connsiteX153" fmla="*/ 4870940 w 5181602"/>
              <a:gd name="connsiteY153" fmla="*/ 407090 h 6857685"/>
              <a:gd name="connsiteX154" fmla="*/ 4867035 w 5181602"/>
              <a:gd name="connsiteY154" fmla="*/ 409369 h 6857685"/>
              <a:gd name="connsiteX155" fmla="*/ 4876114 w 5181602"/>
              <a:gd name="connsiteY155" fmla="*/ 415068 h 6857685"/>
              <a:gd name="connsiteX156" fmla="*/ 4884508 w 5181602"/>
              <a:gd name="connsiteY156" fmla="*/ 408103 h 6857685"/>
              <a:gd name="connsiteX157" fmla="*/ 4876951 w 5181602"/>
              <a:gd name="connsiteY157" fmla="*/ 401036 h 6857685"/>
              <a:gd name="connsiteX158" fmla="*/ 4872563 w 5181602"/>
              <a:gd name="connsiteY158" fmla="*/ 397794 h 6857685"/>
              <a:gd name="connsiteX159" fmla="*/ 4875606 w 5181602"/>
              <a:gd name="connsiteY159" fmla="*/ 395489 h 6857685"/>
              <a:gd name="connsiteX160" fmla="*/ 4880019 w 5181602"/>
              <a:gd name="connsiteY160" fmla="*/ 398453 h 6857685"/>
              <a:gd name="connsiteX161" fmla="*/ 4883848 w 5181602"/>
              <a:gd name="connsiteY161" fmla="*/ 396249 h 6857685"/>
              <a:gd name="connsiteX162" fmla="*/ 4875581 w 5181602"/>
              <a:gd name="connsiteY162" fmla="*/ 391057 h 6857685"/>
              <a:gd name="connsiteX163" fmla="*/ 4228943 w 5181602"/>
              <a:gd name="connsiteY163" fmla="*/ 352584 h 6857685"/>
              <a:gd name="connsiteX164" fmla="*/ 4228961 w 5181602"/>
              <a:gd name="connsiteY164" fmla="*/ 352610 h 6857685"/>
              <a:gd name="connsiteX165" fmla="*/ 4228943 w 5181602"/>
              <a:gd name="connsiteY165" fmla="*/ 352610 h 6857685"/>
              <a:gd name="connsiteX166" fmla="*/ 4706054 w 5181602"/>
              <a:gd name="connsiteY166" fmla="*/ 291036 h 6857685"/>
              <a:gd name="connsiteX167" fmla="*/ 4737652 w 5181602"/>
              <a:gd name="connsiteY167" fmla="*/ 303574 h 6857685"/>
              <a:gd name="connsiteX168" fmla="*/ 4750205 w 5181602"/>
              <a:gd name="connsiteY168" fmla="*/ 335766 h 6857685"/>
              <a:gd name="connsiteX169" fmla="*/ 4737652 w 5181602"/>
              <a:gd name="connsiteY169" fmla="*/ 367958 h 6857685"/>
              <a:gd name="connsiteX170" fmla="*/ 4706054 w 5181602"/>
              <a:gd name="connsiteY170" fmla="*/ 380495 h 6857685"/>
              <a:gd name="connsiteX171" fmla="*/ 4674609 w 5181602"/>
              <a:gd name="connsiteY171" fmla="*/ 367958 h 6857685"/>
              <a:gd name="connsiteX172" fmla="*/ 4662208 w 5181602"/>
              <a:gd name="connsiteY172" fmla="*/ 335766 h 6857685"/>
              <a:gd name="connsiteX173" fmla="*/ 4674609 w 5181602"/>
              <a:gd name="connsiteY173" fmla="*/ 303574 h 6857685"/>
              <a:gd name="connsiteX174" fmla="*/ 4706054 w 5181602"/>
              <a:gd name="connsiteY174" fmla="*/ 291036 h 6857685"/>
              <a:gd name="connsiteX175" fmla="*/ 4269924 w 5181602"/>
              <a:gd name="connsiteY175" fmla="*/ 288808 h 6857685"/>
              <a:gd name="connsiteX176" fmla="*/ 4294852 w 5181602"/>
              <a:gd name="connsiteY176" fmla="*/ 296736 h 6857685"/>
              <a:gd name="connsiteX177" fmla="*/ 4309307 w 5181602"/>
              <a:gd name="connsiteY177" fmla="*/ 320848 h 6857685"/>
              <a:gd name="connsiteX178" fmla="*/ 4228309 w 5181602"/>
              <a:gd name="connsiteY178" fmla="*/ 320848 h 6857685"/>
              <a:gd name="connsiteX179" fmla="*/ 4242612 w 5181602"/>
              <a:gd name="connsiteY179" fmla="*/ 297217 h 6857685"/>
              <a:gd name="connsiteX180" fmla="*/ 4269924 w 5181602"/>
              <a:gd name="connsiteY180" fmla="*/ 288808 h 6857685"/>
              <a:gd name="connsiteX181" fmla="*/ 4407169 w 5181602"/>
              <a:gd name="connsiteY181" fmla="*/ 283686 h 6857685"/>
              <a:gd name="connsiteX182" fmla="*/ 4407169 w 5181602"/>
              <a:gd name="connsiteY182" fmla="*/ 283717 h 6857685"/>
              <a:gd name="connsiteX183" fmla="*/ 4407143 w 5181602"/>
              <a:gd name="connsiteY183" fmla="*/ 283717 h 6857685"/>
              <a:gd name="connsiteX184" fmla="*/ 4461463 w 5181602"/>
              <a:gd name="connsiteY184" fmla="*/ 256439 h 6857685"/>
              <a:gd name="connsiteX185" fmla="*/ 4521818 w 5181602"/>
              <a:gd name="connsiteY185" fmla="*/ 415068 h 6857685"/>
              <a:gd name="connsiteX186" fmla="*/ 4568530 w 5181602"/>
              <a:gd name="connsiteY186" fmla="*/ 415068 h 6857685"/>
              <a:gd name="connsiteX187" fmla="*/ 4628886 w 5181602"/>
              <a:gd name="connsiteY187" fmla="*/ 256439 h 6857685"/>
              <a:gd name="connsiteX188" fmla="*/ 4583771 w 5181602"/>
              <a:gd name="connsiteY188" fmla="*/ 256439 h 6857685"/>
              <a:gd name="connsiteX189" fmla="*/ 4545022 w 5181602"/>
              <a:gd name="connsiteY189" fmla="*/ 367477 h 6857685"/>
              <a:gd name="connsiteX190" fmla="*/ 4506577 w 5181602"/>
              <a:gd name="connsiteY190" fmla="*/ 256439 h 6857685"/>
              <a:gd name="connsiteX191" fmla="*/ 4455428 w 5181602"/>
              <a:gd name="connsiteY191" fmla="*/ 256413 h 6857685"/>
              <a:gd name="connsiteX192" fmla="*/ 4426036 w 5181602"/>
              <a:gd name="connsiteY192" fmla="*/ 260871 h 6857685"/>
              <a:gd name="connsiteX193" fmla="*/ 4407169 w 5181602"/>
              <a:gd name="connsiteY193" fmla="*/ 283686 h 6857685"/>
              <a:gd name="connsiteX194" fmla="*/ 4407169 w 5181602"/>
              <a:gd name="connsiteY194" fmla="*/ 256438 h 6857685"/>
              <a:gd name="connsiteX195" fmla="*/ 4366188 w 5181602"/>
              <a:gd name="connsiteY195" fmla="*/ 256438 h 6857685"/>
              <a:gd name="connsiteX196" fmla="*/ 4366188 w 5181602"/>
              <a:gd name="connsiteY196" fmla="*/ 415068 h 6857685"/>
              <a:gd name="connsiteX197" fmla="*/ 4407169 w 5181602"/>
              <a:gd name="connsiteY197" fmla="*/ 415068 h 6857685"/>
              <a:gd name="connsiteX198" fmla="*/ 4407169 w 5181602"/>
              <a:gd name="connsiteY198" fmla="*/ 339236 h 6857685"/>
              <a:gd name="connsiteX199" fmla="*/ 4421928 w 5181602"/>
              <a:gd name="connsiteY199" fmla="*/ 306563 h 6857685"/>
              <a:gd name="connsiteX200" fmla="*/ 4455428 w 5181602"/>
              <a:gd name="connsiteY200" fmla="*/ 298939 h 6857685"/>
              <a:gd name="connsiteX201" fmla="*/ 4269898 w 5181602"/>
              <a:gd name="connsiteY201" fmla="*/ 252032 h 6857685"/>
              <a:gd name="connsiteX202" fmla="*/ 4209543 w 5181602"/>
              <a:gd name="connsiteY202" fmla="*/ 275992 h 6857685"/>
              <a:gd name="connsiteX203" fmla="*/ 4186035 w 5181602"/>
              <a:gd name="connsiteY203" fmla="*/ 335792 h 6857685"/>
              <a:gd name="connsiteX204" fmla="*/ 4209873 w 5181602"/>
              <a:gd name="connsiteY204" fmla="*/ 395743 h 6857685"/>
              <a:gd name="connsiteX205" fmla="*/ 4273094 w 5181602"/>
              <a:gd name="connsiteY205" fmla="*/ 419526 h 6857685"/>
              <a:gd name="connsiteX206" fmla="*/ 4342350 w 5181602"/>
              <a:gd name="connsiteY206" fmla="*/ 385587 h 6857685"/>
              <a:gd name="connsiteX207" fmla="*/ 4309307 w 5181602"/>
              <a:gd name="connsiteY207" fmla="*/ 366540 h 6857685"/>
              <a:gd name="connsiteX208" fmla="*/ 4273728 w 5181602"/>
              <a:gd name="connsiteY208" fmla="*/ 382395 h 6857685"/>
              <a:gd name="connsiteX209" fmla="*/ 4244270 w 5181602"/>
              <a:gd name="connsiteY209" fmla="*/ 374946 h 6857685"/>
              <a:gd name="connsiteX210" fmla="*/ 4228961 w 5181602"/>
              <a:gd name="connsiteY210" fmla="*/ 352610 h 6857685"/>
              <a:gd name="connsiteX211" fmla="*/ 4348690 w 5181602"/>
              <a:gd name="connsiteY211" fmla="*/ 352610 h 6857685"/>
              <a:gd name="connsiteX212" fmla="*/ 4350288 w 5181602"/>
              <a:gd name="connsiteY212" fmla="*/ 335792 h 6857685"/>
              <a:gd name="connsiteX213" fmla="*/ 4327566 w 5181602"/>
              <a:gd name="connsiteY213" fmla="*/ 276144 h 6857685"/>
              <a:gd name="connsiteX214" fmla="*/ 4269898 w 5181602"/>
              <a:gd name="connsiteY214" fmla="*/ 252032 h 6857685"/>
              <a:gd name="connsiteX215" fmla="*/ 4698421 w 5181602"/>
              <a:gd name="connsiteY215" fmla="*/ 252006 h 6857685"/>
              <a:gd name="connsiteX216" fmla="*/ 4643949 w 5181602"/>
              <a:gd name="connsiteY216" fmla="*/ 276270 h 6857685"/>
              <a:gd name="connsiteX217" fmla="*/ 4621227 w 5181602"/>
              <a:gd name="connsiteY217" fmla="*/ 335740 h 6857685"/>
              <a:gd name="connsiteX218" fmla="*/ 4643949 w 5181602"/>
              <a:gd name="connsiteY218" fmla="*/ 395236 h 6857685"/>
              <a:gd name="connsiteX219" fmla="*/ 4698421 w 5181602"/>
              <a:gd name="connsiteY219" fmla="*/ 419500 h 6857685"/>
              <a:gd name="connsiteX220" fmla="*/ 4750205 w 5181602"/>
              <a:gd name="connsiteY220" fmla="*/ 396350 h 6857685"/>
              <a:gd name="connsiteX221" fmla="*/ 4750205 w 5181602"/>
              <a:gd name="connsiteY221" fmla="*/ 415068 h 6857685"/>
              <a:gd name="connsiteX222" fmla="*/ 4791185 w 5181602"/>
              <a:gd name="connsiteY222" fmla="*/ 415068 h 6857685"/>
              <a:gd name="connsiteX223" fmla="*/ 4791185 w 5181602"/>
              <a:gd name="connsiteY223" fmla="*/ 256438 h 6857685"/>
              <a:gd name="connsiteX224" fmla="*/ 4750205 w 5181602"/>
              <a:gd name="connsiteY224" fmla="*/ 256438 h 6857685"/>
              <a:gd name="connsiteX225" fmla="*/ 4750205 w 5181602"/>
              <a:gd name="connsiteY225" fmla="*/ 275181 h 6857685"/>
              <a:gd name="connsiteX226" fmla="*/ 4698421 w 5181602"/>
              <a:gd name="connsiteY226" fmla="*/ 252006 h 6857685"/>
              <a:gd name="connsiteX227" fmla="*/ 4003422 w 5181602"/>
              <a:gd name="connsiteY227" fmla="*/ 252006 h 6857685"/>
              <a:gd name="connsiteX228" fmla="*/ 3956076 w 5181602"/>
              <a:gd name="connsiteY228" fmla="*/ 274193 h 6857685"/>
              <a:gd name="connsiteX229" fmla="*/ 3956076 w 5181602"/>
              <a:gd name="connsiteY229" fmla="*/ 256438 h 6857685"/>
              <a:gd name="connsiteX230" fmla="*/ 3915095 w 5181602"/>
              <a:gd name="connsiteY230" fmla="*/ 256438 h 6857685"/>
              <a:gd name="connsiteX231" fmla="*/ 3915095 w 5181602"/>
              <a:gd name="connsiteY231" fmla="*/ 415093 h 6857685"/>
              <a:gd name="connsiteX232" fmla="*/ 3956076 w 5181602"/>
              <a:gd name="connsiteY232" fmla="*/ 415093 h 6857685"/>
              <a:gd name="connsiteX233" fmla="*/ 3956076 w 5181602"/>
              <a:gd name="connsiteY233" fmla="*/ 329434 h 6857685"/>
              <a:gd name="connsiteX234" fmla="*/ 3965611 w 5181602"/>
              <a:gd name="connsiteY234" fmla="*/ 299927 h 6857685"/>
              <a:gd name="connsiteX235" fmla="*/ 3991021 w 5181602"/>
              <a:gd name="connsiteY235" fmla="*/ 290099 h 6857685"/>
              <a:gd name="connsiteX236" fmla="*/ 4013895 w 5181602"/>
              <a:gd name="connsiteY236" fmla="*/ 298508 h 6857685"/>
              <a:gd name="connsiteX237" fmla="*/ 4022467 w 5181602"/>
              <a:gd name="connsiteY237" fmla="*/ 322772 h 6857685"/>
              <a:gd name="connsiteX238" fmla="*/ 4022467 w 5181602"/>
              <a:gd name="connsiteY238" fmla="*/ 415093 h 6857685"/>
              <a:gd name="connsiteX239" fmla="*/ 4063447 w 5181602"/>
              <a:gd name="connsiteY239" fmla="*/ 415093 h 6857685"/>
              <a:gd name="connsiteX240" fmla="*/ 4063447 w 5181602"/>
              <a:gd name="connsiteY240" fmla="*/ 317682 h 6857685"/>
              <a:gd name="connsiteX241" fmla="*/ 4046457 w 5181602"/>
              <a:gd name="connsiteY241" fmla="*/ 269457 h 6857685"/>
              <a:gd name="connsiteX242" fmla="*/ 4003422 w 5181602"/>
              <a:gd name="connsiteY242" fmla="*/ 252006 h 6857685"/>
              <a:gd name="connsiteX243" fmla="*/ 3844596 w 5181602"/>
              <a:gd name="connsiteY243" fmla="*/ 213052 h 6857685"/>
              <a:gd name="connsiteX244" fmla="*/ 3888442 w 5181602"/>
              <a:gd name="connsiteY244" fmla="*/ 256844 h 6857685"/>
              <a:gd name="connsiteX245" fmla="*/ 3844596 w 5181602"/>
              <a:gd name="connsiteY245" fmla="*/ 256844 h 6857685"/>
              <a:gd name="connsiteX246" fmla="*/ 3844596 w 5181602"/>
              <a:gd name="connsiteY246" fmla="*/ 414815 h 6857685"/>
              <a:gd name="connsiteX247" fmla="*/ 3888442 w 5181602"/>
              <a:gd name="connsiteY247" fmla="*/ 414815 h 6857685"/>
              <a:gd name="connsiteX248" fmla="*/ 3888442 w 5181602"/>
              <a:gd name="connsiteY248" fmla="*/ 256844 h 6857685"/>
              <a:gd name="connsiteX249" fmla="*/ 3888442 w 5181602"/>
              <a:gd name="connsiteY249" fmla="*/ 213052 h 6857685"/>
              <a:gd name="connsiteX250" fmla="*/ 4815657 w 5181602"/>
              <a:gd name="connsiteY250" fmla="*/ 212672 h 6857685"/>
              <a:gd name="connsiteX251" fmla="*/ 4815657 w 5181602"/>
              <a:gd name="connsiteY251" fmla="*/ 415094 h 6857685"/>
              <a:gd name="connsiteX252" fmla="*/ 4856638 w 5181602"/>
              <a:gd name="connsiteY252" fmla="*/ 415094 h 6857685"/>
              <a:gd name="connsiteX253" fmla="*/ 4856638 w 5181602"/>
              <a:gd name="connsiteY253" fmla="*/ 212672 h 6857685"/>
              <a:gd name="connsiteX254" fmla="*/ 4096821 w 5181602"/>
              <a:gd name="connsiteY254" fmla="*/ 212672 h 6857685"/>
              <a:gd name="connsiteX255" fmla="*/ 4109653 w 5181602"/>
              <a:gd name="connsiteY255" fmla="*/ 243620 h 6857685"/>
              <a:gd name="connsiteX256" fmla="*/ 4140607 w 5181602"/>
              <a:gd name="connsiteY256" fmla="*/ 256439 h 6857685"/>
              <a:gd name="connsiteX257" fmla="*/ 4099661 w 5181602"/>
              <a:gd name="connsiteY257" fmla="*/ 256439 h 6857685"/>
              <a:gd name="connsiteX258" fmla="*/ 4072019 w 5181602"/>
              <a:gd name="connsiteY258" fmla="*/ 256439 h 6857685"/>
              <a:gd name="connsiteX259" fmla="*/ 4072019 w 5181602"/>
              <a:gd name="connsiteY259" fmla="*/ 295799 h 6857685"/>
              <a:gd name="connsiteX260" fmla="*/ 4099661 w 5181602"/>
              <a:gd name="connsiteY260" fmla="*/ 295799 h 6857685"/>
              <a:gd name="connsiteX261" fmla="*/ 4099661 w 5181602"/>
              <a:gd name="connsiteY261" fmla="*/ 361778 h 6857685"/>
              <a:gd name="connsiteX262" fmla="*/ 4116981 w 5181602"/>
              <a:gd name="connsiteY262" fmla="*/ 407141 h 6857685"/>
              <a:gd name="connsiteX263" fmla="*/ 4176550 w 5181602"/>
              <a:gd name="connsiteY263" fmla="*/ 415068 h 6857685"/>
              <a:gd name="connsiteX264" fmla="*/ 4176550 w 5181602"/>
              <a:gd name="connsiteY264" fmla="*/ 377938 h 6857685"/>
              <a:gd name="connsiteX265" fmla="*/ 4156846 w 5181602"/>
              <a:gd name="connsiteY265" fmla="*/ 378089 h 6857685"/>
              <a:gd name="connsiteX266" fmla="*/ 4144775 w 5181602"/>
              <a:gd name="connsiteY266" fmla="*/ 373809 h 6857685"/>
              <a:gd name="connsiteX267" fmla="*/ 4140641 w 5181602"/>
              <a:gd name="connsiteY267" fmla="*/ 361753 h 6857685"/>
              <a:gd name="connsiteX268" fmla="*/ 4140641 w 5181602"/>
              <a:gd name="connsiteY268" fmla="*/ 295773 h 6857685"/>
              <a:gd name="connsiteX269" fmla="*/ 4176550 w 5181602"/>
              <a:gd name="connsiteY269" fmla="*/ 295773 h 6857685"/>
              <a:gd name="connsiteX270" fmla="*/ 4176550 w 5181602"/>
              <a:gd name="connsiteY270" fmla="*/ 256439 h 6857685"/>
              <a:gd name="connsiteX271" fmla="*/ 4140667 w 5181602"/>
              <a:gd name="connsiteY271" fmla="*/ 256439 h 6857685"/>
              <a:gd name="connsiteX272" fmla="*/ 4140667 w 5181602"/>
              <a:gd name="connsiteY272" fmla="*/ 212672 h 6857685"/>
              <a:gd name="connsiteX273" fmla="*/ 0 w 5181602"/>
              <a:gd name="connsiteY273" fmla="*/ 0 h 6857685"/>
              <a:gd name="connsiteX274" fmla="*/ 5181602 w 5181602"/>
              <a:gd name="connsiteY274" fmla="*/ 0 h 6857685"/>
              <a:gd name="connsiteX275" fmla="*/ 5181602 w 5181602"/>
              <a:gd name="connsiteY275" fmla="*/ 5184339 h 6857685"/>
              <a:gd name="connsiteX276" fmla="*/ 0 w 5181602"/>
              <a:gd name="connsiteY276" fmla="*/ 0 h 6857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Lst>
            <a:rect l="l" t="t" r="r" b="b"/>
            <a:pathLst>
              <a:path w="5181602" h="6857685">
                <a:moveTo>
                  <a:pt x="0" y="5184339"/>
                </a:moveTo>
                <a:lnTo>
                  <a:pt x="5181602" y="5184339"/>
                </a:lnTo>
                <a:lnTo>
                  <a:pt x="5181602" y="6857685"/>
                </a:lnTo>
                <a:lnTo>
                  <a:pt x="0" y="6857685"/>
                </a:lnTo>
                <a:close/>
                <a:moveTo>
                  <a:pt x="4650365" y="505489"/>
                </a:moveTo>
                <a:lnTo>
                  <a:pt x="4658734" y="530842"/>
                </a:lnTo>
                <a:lnTo>
                  <a:pt x="4641996" y="530842"/>
                </a:lnTo>
                <a:close/>
                <a:moveTo>
                  <a:pt x="4372046" y="505489"/>
                </a:moveTo>
                <a:lnTo>
                  <a:pt x="4380415" y="530842"/>
                </a:lnTo>
                <a:lnTo>
                  <a:pt x="4363677" y="530842"/>
                </a:lnTo>
                <a:close/>
                <a:moveTo>
                  <a:pt x="4237870" y="502804"/>
                </a:moveTo>
                <a:lnTo>
                  <a:pt x="4250270" y="502804"/>
                </a:lnTo>
                <a:cubicBezTo>
                  <a:pt x="4252527" y="502804"/>
                  <a:pt x="4254480" y="503690"/>
                  <a:pt x="4256103" y="505463"/>
                </a:cubicBezTo>
                <a:cubicBezTo>
                  <a:pt x="4257726" y="507236"/>
                  <a:pt x="4258538" y="509389"/>
                  <a:pt x="4258538" y="511947"/>
                </a:cubicBezTo>
                <a:cubicBezTo>
                  <a:pt x="4258538" y="514505"/>
                  <a:pt x="4257726" y="516658"/>
                  <a:pt x="4256103" y="518457"/>
                </a:cubicBezTo>
                <a:cubicBezTo>
                  <a:pt x="4254480" y="520255"/>
                  <a:pt x="4252527" y="521167"/>
                  <a:pt x="4250270" y="521167"/>
                </a:cubicBezTo>
                <a:lnTo>
                  <a:pt x="4237870" y="521167"/>
                </a:lnTo>
                <a:close/>
                <a:moveTo>
                  <a:pt x="4517507" y="502019"/>
                </a:moveTo>
                <a:cubicBezTo>
                  <a:pt x="4523086" y="502019"/>
                  <a:pt x="4527777" y="503944"/>
                  <a:pt x="4531556" y="507794"/>
                </a:cubicBezTo>
                <a:cubicBezTo>
                  <a:pt x="4535334" y="511644"/>
                  <a:pt x="4537236" y="516506"/>
                  <a:pt x="4537236" y="522408"/>
                </a:cubicBezTo>
                <a:cubicBezTo>
                  <a:pt x="4537211" y="528335"/>
                  <a:pt x="4535334" y="533172"/>
                  <a:pt x="4531556" y="536997"/>
                </a:cubicBezTo>
                <a:cubicBezTo>
                  <a:pt x="4527777" y="540821"/>
                  <a:pt x="4523086" y="542721"/>
                  <a:pt x="4517507" y="542721"/>
                </a:cubicBezTo>
                <a:cubicBezTo>
                  <a:pt x="4511928" y="542721"/>
                  <a:pt x="4507236" y="540821"/>
                  <a:pt x="4503458" y="536997"/>
                </a:cubicBezTo>
                <a:cubicBezTo>
                  <a:pt x="4499679" y="533172"/>
                  <a:pt x="4497777" y="528335"/>
                  <a:pt x="4497777" y="522408"/>
                </a:cubicBezTo>
                <a:cubicBezTo>
                  <a:pt x="4497777" y="516506"/>
                  <a:pt x="4499679" y="511618"/>
                  <a:pt x="4503458" y="507794"/>
                </a:cubicBezTo>
                <a:cubicBezTo>
                  <a:pt x="4507236" y="503944"/>
                  <a:pt x="4511928" y="502019"/>
                  <a:pt x="4517507" y="502019"/>
                </a:cubicBezTo>
                <a:close/>
                <a:moveTo>
                  <a:pt x="4690432" y="491381"/>
                </a:moveTo>
                <a:lnTo>
                  <a:pt x="4690432" y="553435"/>
                </a:lnTo>
                <a:lnTo>
                  <a:pt x="4725758" y="553435"/>
                </a:lnTo>
                <a:lnTo>
                  <a:pt x="4725758" y="541733"/>
                </a:lnTo>
                <a:lnTo>
                  <a:pt x="4702478" y="541733"/>
                </a:lnTo>
                <a:lnTo>
                  <a:pt x="4702478" y="491381"/>
                </a:lnTo>
                <a:close/>
                <a:moveTo>
                  <a:pt x="4642884" y="491381"/>
                </a:moveTo>
                <a:lnTo>
                  <a:pt x="4621506" y="553435"/>
                </a:lnTo>
                <a:lnTo>
                  <a:pt x="4634515" y="553435"/>
                </a:lnTo>
                <a:lnTo>
                  <a:pt x="4638167" y="542265"/>
                </a:lnTo>
                <a:lnTo>
                  <a:pt x="4662512" y="542265"/>
                </a:lnTo>
                <a:lnTo>
                  <a:pt x="4666189" y="553435"/>
                </a:lnTo>
                <a:lnTo>
                  <a:pt x="4679275" y="553435"/>
                </a:lnTo>
                <a:lnTo>
                  <a:pt x="4657821" y="491381"/>
                </a:lnTo>
                <a:close/>
                <a:moveTo>
                  <a:pt x="4562951" y="491381"/>
                </a:moveTo>
                <a:lnTo>
                  <a:pt x="4562951" y="553435"/>
                </a:lnTo>
                <a:lnTo>
                  <a:pt x="4574997" y="553435"/>
                </a:lnTo>
                <a:lnTo>
                  <a:pt x="4574997" y="515493"/>
                </a:lnTo>
                <a:lnTo>
                  <a:pt x="4601167" y="553435"/>
                </a:lnTo>
                <a:lnTo>
                  <a:pt x="4610348" y="553435"/>
                </a:lnTo>
                <a:lnTo>
                  <a:pt x="4610348" y="491381"/>
                </a:lnTo>
                <a:lnTo>
                  <a:pt x="4598302" y="491381"/>
                </a:lnTo>
                <a:lnTo>
                  <a:pt x="4598302" y="529246"/>
                </a:lnTo>
                <a:lnTo>
                  <a:pt x="4572131" y="491381"/>
                </a:lnTo>
                <a:close/>
                <a:moveTo>
                  <a:pt x="4460017" y="491381"/>
                </a:moveTo>
                <a:lnTo>
                  <a:pt x="4460017" y="553435"/>
                </a:lnTo>
                <a:lnTo>
                  <a:pt x="4472063" y="553435"/>
                </a:lnTo>
                <a:lnTo>
                  <a:pt x="4472063" y="491381"/>
                </a:lnTo>
                <a:close/>
                <a:moveTo>
                  <a:pt x="4403111" y="491381"/>
                </a:moveTo>
                <a:lnTo>
                  <a:pt x="4403111" y="503083"/>
                </a:lnTo>
                <a:lnTo>
                  <a:pt x="4419518" y="503083"/>
                </a:lnTo>
                <a:lnTo>
                  <a:pt x="4419518" y="553435"/>
                </a:lnTo>
                <a:lnTo>
                  <a:pt x="4431564" y="553435"/>
                </a:lnTo>
                <a:lnTo>
                  <a:pt x="4431564" y="503083"/>
                </a:lnTo>
                <a:lnTo>
                  <a:pt x="4448048" y="503083"/>
                </a:lnTo>
                <a:lnTo>
                  <a:pt x="4448048" y="491381"/>
                </a:lnTo>
                <a:close/>
                <a:moveTo>
                  <a:pt x="4364565" y="491381"/>
                </a:moveTo>
                <a:lnTo>
                  <a:pt x="4343187" y="553435"/>
                </a:lnTo>
                <a:lnTo>
                  <a:pt x="4356196" y="553435"/>
                </a:lnTo>
                <a:lnTo>
                  <a:pt x="4359873" y="542265"/>
                </a:lnTo>
                <a:lnTo>
                  <a:pt x="4384218" y="542265"/>
                </a:lnTo>
                <a:lnTo>
                  <a:pt x="4387870" y="553435"/>
                </a:lnTo>
                <a:lnTo>
                  <a:pt x="4400956" y="553435"/>
                </a:lnTo>
                <a:lnTo>
                  <a:pt x="4379502" y="491381"/>
                </a:lnTo>
                <a:close/>
                <a:moveTo>
                  <a:pt x="4284632" y="491381"/>
                </a:moveTo>
                <a:lnTo>
                  <a:pt x="4284632" y="553435"/>
                </a:lnTo>
                <a:lnTo>
                  <a:pt x="4296678" y="553435"/>
                </a:lnTo>
                <a:lnTo>
                  <a:pt x="4296678" y="515493"/>
                </a:lnTo>
                <a:lnTo>
                  <a:pt x="4322848" y="553435"/>
                </a:lnTo>
                <a:lnTo>
                  <a:pt x="4332003" y="553435"/>
                </a:lnTo>
                <a:lnTo>
                  <a:pt x="4332003" y="491381"/>
                </a:lnTo>
                <a:lnTo>
                  <a:pt x="4319983" y="491381"/>
                </a:lnTo>
                <a:lnTo>
                  <a:pt x="4319983" y="529246"/>
                </a:lnTo>
                <a:lnTo>
                  <a:pt x="4293787" y="491381"/>
                </a:lnTo>
                <a:close/>
                <a:moveTo>
                  <a:pt x="4225824" y="491381"/>
                </a:moveTo>
                <a:lnTo>
                  <a:pt x="4225824" y="553435"/>
                </a:lnTo>
                <a:lnTo>
                  <a:pt x="4237870" y="553435"/>
                </a:lnTo>
                <a:lnTo>
                  <a:pt x="4237870" y="531906"/>
                </a:lnTo>
                <a:lnTo>
                  <a:pt x="4247024" y="531906"/>
                </a:lnTo>
                <a:lnTo>
                  <a:pt x="4259324" y="553435"/>
                </a:lnTo>
                <a:lnTo>
                  <a:pt x="4272333" y="553435"/>
                </a:lnTo>
                <a:lnTo>
                  <a:pt x="4258817" y="530032"/>
                </a:lnTo>
                <a:cubicBezTo>
                  <a:pt x="4262367" y="528385"/>
                  <a:pt x="4265207" y="525903"/>
                  <a:pt x="4267363" y="522636"/>
                </a:cubicBezTo>
                <a:cubicBezTo>
                  <a:pt x="4269518" y="519343"/>
                  <a:pt x="4270583" y="515797"/>
                  <a:pt x="4270583" y="511947"/>
                </a:cubicBezTo>
                <a:cubicBezTo>
                  <a:pt x="4270583" y="506274"/>
                  <a:pt x="4268605" y="501436"/>
                  <a:pt x="4264649" y="497409"/>
                </a:cubicBezTo>
                <a:cubicBezTo>
                  <a:pt x="4260693" y="493382"/>
                  <a:pt x="4255900" y="491381"/>
                  <a:pt x="4250245" y="491381"/>
                </a:cubicBezTo>
                <a:close/>
                <a:moveTo>
                  <a:pt x="4174344" y="491381"/>
                </a:moveTo>
                <a:lnTo>
                  <a:pt x="4174344" y="553435"/>
                </a:lnTo>
                <a:lnTo>
                  <a:pt x="4212129" y="553435"/>
                </a:lnTo>
                <a:lnTo>
                  <a:pt x="4212129" y="541733"/>
                </a:lnTo>
                <a:lnTo>
                  <a:pt x="4186390" y="541733"/>
                </a:lnTo>
                <a:lnTo>
                  <a:pt x="4186390" y="527828"/>
                </a:lnTo>
                <a:lnTo>
                  <a:pt x="4209517" y="527828"/>
                </a:lnTo>
                <a:lnTo>
                  <a:pt x="4209517" y="516304"/>
                </a:lnTo>
                <a:lnTo>
                  <a:pt x="4186390" y="516304"/>
                </a:lnTo>
                <a:lnTo>
                  <a:pt x="4186390" y="503083"/>
                </a:lnTo>
                <a:lnTo>
                  <a:pt x="4211698" y="503083"/>
                </a:lnTo>
                <a:lnTo>
                  <a:pt x="4211698" y="491381"/>
                </a:lnTo>
                <a:close/>
                <a:moveTo>
                  <a:pt x="4117463" y="491381"/>
                </a:moveTo>
                <a:lnTo>
                  <a:pt x="4117463" y="503083"/>
                </a:lnTo>
                <a:lnTo>
                  <a:pt x="4133871" y="503083"/>
                </a:lnTo>
                <a:lnTo>
                  <a:pt x="4133871" y="553435"/>
                </a:lnTo>
                <a:lnTo>
                  <a:pt x="4145916" y="553435"/>
                </a:lnTo>
                <a:lnTo>
                  <a:pt x="4145916" y="503083"/>
                </a:lnTo>
                <a:lnTo>
                  <a:pt x="4162400" y="503083"/>
                </a:lnTo>
                <a:lnTo>
                  <a:pt x="4162400" y="491381"/>
                </a:lnTo>
                <a:close/>
                <a:moveTo>
                  <a:pt x="4058046" y="491381"/>
                </a:moveTo>
                <a:lnTo>
                  <a:pt x="4058046" y="553435"/>
                </a:lnTo>
                <a:lnTo>
                  <a:pt x="4070092" y="553435"/>
                </a:lnTo>
                <a:lnTo>
                  <a:pt x="4070092" y="515493"/>
                </a:lnTo>
                <a:lnTo>
                  <a:pt x="4096263" y="553435"/>
                </a:lnTo>
                <a:lnTo>
                  <a:pt x="4105417" y="553435"/>
                </a:lnTo>
                <a:lnTo>
                  <a:pt x="4105417" y="491381"/>
                </a:lnTo>
                <a:lnTo>
                  <a:pt x="4093372" y="491381"/>
                </a:lnTo>
                <a:lnTo>
                  <a:pt x="4093372" y="529246"/>
                </a:lnTo>
                <a:lnTo>
                  <a:pt x="4067201" y="491381"/>
                </a:lnTo>
                <a:close/>
                <a:moveTo>
                  <a:pt x="4029441" y="491381"/>
                </a:moveTo>
                <a:lnTo>
                  <a:pt x="4029441" y="553435"/>
                </a:lnTo>
                <a:lnTo>
                  <a:pt x="4041487" y="553435"/>
                </a:lnTo>
                <a:lnTo>
                  <a:pt x="4041487" y="491381"/>
                </a:lnTo>
                <a:close/>
                <a:moveTo>
                  <a:pt x="4517507" y="490140"/>
                </a:moveTo>
                <a:cubicBezTo>
                  <a:pt x="4508656" y="490140"/>
                  <a:pt x="4501175" y="493255"/>
                  <a:pt x="4495038" y="499486"/>
                </a:cubicBezTo>
                <a:cubicBezTo>
                  <a:pt x="4488901" y="505717"/>
                  <a:pt x="4485833" y="513366"/>
                  <a:pt x="4485833" y="522408"/>
                </a:cubicBezTo>
                <a:cubicBezTo>
                  <a:pt x="4485833" y="531450"/>
                  <a:pt x="4488901" y="539099"/>
                  <a:pt x="4495038" y="545330"/>
                </a:cubicBezTo>
                <a:cubicBezTo>
                  <a:pt x="4501175" y="551560"/>
                  <a:pt x="4508656" y="554676"/>
                  <a:pt x="4517507" y="554676"/>
                </a:cubicBezTo>
                <a:cubicBezTo>
                  <a:pt x="4526332" y="554676"/>
                  <a:pt x="4533838" y="551560"/>
                  <a:pt x="4540026" y="545330"/>
                </a:cubicBezTo>
                <a:cubicBezTo>
                  <a:pt x="4546188" y="539099"/>
                  <a:pt x="4549282" y="531450"/>
                  <a:pt x="4549282" y="522408"/>
                </a:cubicBezTo>
                <a:cubicBezTo>
                  <a:pt x="4549282" y="513366"/>
                  <a:pt x="4546188" y="505742"/>
                  <a:pt x="4540026" y="499486"/>
                </a:cubicBezTo>
                <a:cubicBezTo>
                  <a:pt x="4533838" y="493255"/>
                  <a:pt x="4526332" y="490140"/>
                  <a:pt x="4517507" y="490140"/>
                </a:cubicBezTo>
                <a:close/>
                <a:moveTo>
                  <a:pt x="4887982" y="391994"/>
                </a:moveTo>
                <a:lnTo>
                  <a:pt x="4887982" y="415068"/>
                </a:lnTo>
                <a:lnTo>
                  <a:pt x="4892547" y="415068"/>
                </a:lnTo>
                <a:lnTo>
                  <a:pt x="4892547" y="400124"/>
                </a:lnTo>
                <a:lnTo>
                  <a:pt x="4899039" y="410813"/>
                </a:lnTo>
                <a:lnTo>
                  <a:pt x="4899571" y="410813"/>
                </a:lnTo>
                <a:lnTo>
                  <a:pt x="4906088" y="400099"/>
                </a:lnTo>
                <a:lnTo>
                  <a:pt x="4906088" y="415068"/>
                </a:lnTo>
                <a:lnTo>
                  <a:pt x="4910603" y="415068"/>
                </a:lnTo>
                <a:lnTo>
                  <a:pt x="4910603" y="391994"/>
                </a:lnTo>
                <a:lnTo>
                  <a:pt x="4905911" y="391994"/>
                </a:lnTo>
                <a:lnTo>
                  <a:pt x="4899318" y="402910"/>
                </a:lnTo>
                <a:lnTo>
                  <a:pt x="4892673" y="391994"/>
                </a:lnTo>
                <a:close/>
                <a:moveTo>
                  <a:pt x="4875581" y="391057"/>
                </a:moveTo>
                <a:cubicBezTo>
                  <a:pt x="4871625" y="391057"/>
                  <a:pt x="4867999" y="393564"/>
                  <a:pt x="4867999" y="397921"/>
                </a:cubicBezTo>
                <a:cubicBezTo>
                  <a:pt x="4867999" y="402303"/>
                  <a:pt x="4871422" y="403797"/>
                  <a:pt x="4874972" y="404810"/>
                </a:cubicBezTo>
                <a:cubicBezTo>
                  <a:pt x="4878396" y="405798"/>
                  <a:pt x="4879968" y="406456"/>
                  <a:pt x="4879968" y="408179"/>
                </a:cubicBezTo>
                <a:cubicBezTo>
                  <a:pt x="4879968" y="409470"/>
                  <a:pt x="4879005" y="410610"/>
                  <a:pt x="4876266" y="410610"/>
                </a:cubicBezTo>
                <a:cubicBezTo>
                  <a:pt x="4873400" y="410610"/>
                  <a:pt x="4871777" y="409217"/>
                  <a:pt x="4870940" y="407090"/>
                </a:cubicBezTo>
                <a:lnTo>
                  <a:pt x="4867035" y="409369"/>
                </a:lnTo>
                <a:cubicBezTo>
                  <a:pt x="4868278" y="412814"/>
                  <a:pt x="4871397" y="415068"/>
                  <a:pt x="4876114" y="415068"/>
                </a:cubicBezTo>
                <a:cubicBezTo>
                  <a:pt x="4881033" y="415068"/>
                  <a:pt x="4884508" y="412434"/>
                  <a:pt x="4884508" y="408103"/>
                </a:cubicBezTo>
                <a:cubicBezTo>
                  <a:pt x="4884508" y="403392"/>
                  <a:pt x="4880628" y="402176"/>
                  <a:pt x="4876951" y="401036"/>
                </a:cubicBezTo>
                <a:cubicBezTo>
                  <a:pt x="4873451" y="399972"/>
                  <a:pt x="4872563" y="399213"/>
                  <a:pt x="4872563" y="397794"/>
                </a:cubicBezTo>
                <a:cubicBezTo>
                  <a:pt x="4872563" y="396477"/>
                  <a:pt x="4873679" y="395489"/>
                  <a:pt x="4875606" y="395489"/>
                </a:cubicBezTo>
                <a:cubicBezTo>
                  <a:pt x="4877940" y="395489"/>
                  <a:pt x="4879208" y="396705"/>
                  <a:pt x="4880019" y="398453"/>
                </a:cubicBezTo>
                <a:lnTo>
                  <a:pt x="4883848" y="396249"/>
                </a:lnTo>
                <a:cubicBezTo>
                  <a:pt x="4882301" y="393007"/>
                  <a:pt x="4879385" y="391057"/>
                  <a:pt x="4875581" y="391057"/>
                </a:cubicBezTo>
                <a:close/>
                <a:moveTo>
                  <a:pt x="4228943" y="352584"/>
                </a:moveTo>
                <a:lnTo>
                  <a:pt x="4228961" y="352610"/>
                </a:lnTo>
                <a:lnTo>
                  <a:pt x="4228943" y="352610"/>
                </a:lnTo>
                <a:close/>
                <a:moveTo>
                  <a:pt x="4706054" y="291036"/>
                </a:moveTo>
                <a:cubicBezTo>
                  <a:pt x="4718759" y="291036"/>
                  <a:pt x="4729283" y="295216"/>
                  <a:pt x="4737652" y="303574"/>
                </a:cubicBezTo>
                <a:cubicBezTo>
                  <a:pt x="4746020" y="311932"/>
                  <a:pt x="4750205" y="322646"/>
                  <a:pt x="4750205" y="335766"/>
                </a:cubicBezTo>
                <a:cubicBezTo>
                  <a:pt x="4750205" y="348860"/>
                  <a:pt x="4746020" y="359599"/>
                  <a:pt x="4737652" y="367958"/>
                </a:cubicBezTo>
                <a:cubicBezTo>
                  <a:pt x="4729283" y="376316"/>
                  <a:pt x="4718759" y="380495"/>
                  <a:pt x="4706054" y="380495"/>
                </a:cubicBezTo>
                <a:cubicBezTo>
                  <a:pt x="4693349" y="380495"/>
                  <a:pt x="4682876" y="376316"/>
                  <a:pt x="4674609" y="367958"/>
                </a:cubicBezTo>
                <a:cubicBezTo>
                  <a:pt x="4666367" y="359599"/>
                  <a:pt x="4662233" y="348886"/>
                  <a:pt x="4662208" y="335766"/>
                </a:cubicBezTo>
                <a:cubicBezTo>
                  <a:pt x="4662208" y="322671"/>
                  <a:pt x="4666341" y="311932"/>
                  <a:pt x="4674609" y="303574"/>
                </a:cubicBezTo>
                <a:cubicBezTo>
                  <a:pt x="4682876" y="295216"/>
                  <a:pt x="4693349" y="291036"/>
                  <a:pt x="4706054" y="291036"/>
                </a:cubicBezTo>
                <a:close/>
                <a:moveTo>
                  <a:pt x="4269924" y="288808"/>
                </a:moveTo>
                <a:cubicBezTo>
                  <a:pt x="4279231" y="288808"/>
                  <a:pt x="4287549" y="291442"/>
                  <a:pt x="4294852" y="296736"/>
                </a:cubicBezTo>
                <a:cubicBezTo>
                  <a:pt x="4302155" y="302030"/>
                  <a:pt x="4306974" y="310058"/>
                  <a:pt x="4309307" y="320848"/>
                </a:cubicBezTo>
                <a:lnTo>
                  <a:pt x="4228309" y="320848"/>
                </a:lnTo>
                <a:cubicBezTo>
                  <a:pt x="4230642" y="310692"/>
                  <a:pt x="4235410" y="302815"/>
                  <a:pt x="4242612" y="297217"/>
                </a:cubicBezTo>
                <a:cubicBezTo>
                  <a:pt x="4249814" y="291620"/>
                  <a:pt x="4258918" y="288808"/>
                  <a:pt x="4269924" y="288808"/>
                </a:cubicBezTo>
                <a:close/>
                <a:moveTo>
                  <a:pt x="4407169" y="283686"/>
                </a:moveTo>
                <a:lnTo>
                  <a:pt x="4407169" y="283717"/>
                </a:lnTo>
                <a:lnTo>
                  <a:pt x="4407143" y="283717"/>
                </a:lnTo>
                <a:close/>
                <a:moveTo>
                  <a:pt x="4461463" y="256439"/>
                </a:moveTo>
                <a:lnTo>
                  <a:pt x="4521818" y="415068"/>
                </a:lnTo>
                <a:lnTo>
                  <a:pt x="4568530" y="415068"/>
                </a:lnTo>
                <a:lnTo>
                  <a:pt x="4628886" y="256439"/>
                </a:lnTo>
                <a:lnTo>
                  <a:pt x="4583771" y="256439"/>
                </a:lnTo>
                <a:lnTo>
                  <a:pt x="4545022" y="367477"/>
                </a:lnTo>
                <a:lnTo>
                  <a:pt x="4506577" y="256439"/>
                </a:lnTo>
                <a:close/>
                <a:moveTo>
                  <a:pt x="4455428" y="256413"/>
                </a:moveTo>
                <a:cubicBezTo>
                  <a:pt x="4444625" y="256413"/>
                  <a:pt x="4434836" y="255780"/>
                  <a:pt x="4426036" y="260871"/>
                </a:cubicBezTo>
                <a:lnTo>
                  <a:pt x="4407169" y="283686"/>
                </a:lnTo>
                <a:lnTo>
                  <a:pt x="4407169" y="256438"/>
                </a:lnTo>
                <a:lnTo>
                  <a:pt x="4366188" y="256438"/>
                </a:lnTo>
                <a:lnTo>
                  <a:pt x="4366188" y="415068"/>
                </a:lnTo>
                <a:lnTo>
                  <a:pt x="4407169" y="415068"/>
                </a:lnTo>
                <a:lnTo>
                  <a:pt x="4407169" y="339236"/>
                </a:lnTo>
                <a:cubicBezTo>
                  <a:pt x="4407169" y="324014"/>
                  <a:pt x="4412088" y="313123"/>
                  <a:pt x="4421928" y="306563"/>
                </a:cubicBezTo>
                <a:cubicBezTo>
                  <a:pt x="4431767" y="300003"/>
                  <a:pt x="4442925" y="297470"/>
                  <a:pt x="4455428" y="298939"/>
                </a:cubicBezTo>
                <a:close/>
                <a:moveTo>
                  <a:pt x="4269898" y="252032"/>
                </a:moveTo>
                <a:cubicBezTo>
                  <a:pt x="4245325" y="252032"/>
                  <a:pt x="4225215" y="260036"/>
                  <a:pt x="4209543" y="275992"/>
                </a:cubicBezTo>
                <a:cubicBezTo>
                  <a:pt x="4193871" y="291949"/>
                  <a:pt x="4186035" y="311882"/>
                  <a:pt x="4186035" y="335792"/>
                </a:cubicBezTo>
                <a:cubicBezTo>
                  <a:pt x="4186035" y="359904"/>
                  <a:pt x="4193998" y="379888"/>
                  <a:pt x="4209873" y="395743"/>
                </a:cubicBezTo>
                <a:cubicBezTo>
                  <a:pt x="4225773" y="411599"/>
                  <a:pt x="4246821" y="419526"/>
                  <a:pt x="4273094" y="419526"/>
                </a:cubicBezTo>
                <a:cubicBezTo>
                  <a:pt x="4303601" y="419526"/>
                  <a:pt x="4326678" y="408230"/>
                  <a:pt x="4342350" y="385587"/>
                </a:cubicBezTo>
                <a:lnTo>
                  <a:pt x="4309307" y="366540"/>
                </a:lnTo>
                <a:cubicBezTo>
                  <a:pt x="4301268" y="377102"/>
                  <a:pt x="4289400" y="382395"/>
                  <a:pt x="4273728" y="382395"/>
                </a:cubicBezTo>
                <a:cubicBezTo>
                  <a:pt x="4261556" y="382395"/>
                  <a:pt x="4251735" y="379913"/>
                  <a:pt x="4244270" y="374946"/>
                </a:cubicBezTo>
                <a:lnTo>
                  <a:pt x="4228961" y="352610"/>
                </a:lnTo>
                <a:lnTo>
                  <a:pt x="4348690" y="352610"/>
                </a:lnTo>
                <a:cubicBezTo>
                  <a:pt x="4349755" y="346683"/>
                  <a:pt x="4350288" y="341085"/>
                  <a:pt x="4350288" y="335792"/>
                </a:cubicBezTo>
                <a:cubicBezTo>
                  <a:pt x="4350288" y="312110"/>
                  <a:pt x="4342705" y="292228"/>
                  <a:pt x="4327566" y="276144"/>
                </a:cubicBezTo>
                <a:cubicBezTo>
                  <a:pt x="4312401" y="260061"/>
                  <a:pt x="4293178" y="252032"/>
                  <a:pt x="4269898" y="252032"/>
                </a:cubicBezTo>
                <a:close/>
                <a:moveTo>
                  <a:pt x="4698421" y="252006"/>
                </a:moveTo>
                <a:cubicBezTo>
                  <a:pt x="4677246" y="252006"/>
                  <a:pt x="4659089" y="260086"/>
                  <a:pt x="4643949" y="276270"/>
                </a:cubicBezTo>
                <a:cubicBezTo>
                  <a:pt x="4628784" y="292430"/>
                  <a:pt x="4621227" y="312261"/>
                  <a:pt x="4621227" y="335740"/>
                </a:cubicBezTo>
                <a:cubicBezTo>
                  <a:pt x="4621227" y="359219"/>
                  <a:pt x="4628810" y="379051"/>
                  <a:pt x="4643949" y="395236"/>
                </a:cubicBezTo>
                <a:cubicBezTo>
                  <a:pt x="4659089" y="411421"/>
                  <a:pt x="4677246" y="419500"/>
                  <a:pt x="4698421" y="419500"/>
                </a:cubicBezTo>
                <a:cubicBezTo>
                  <a:pt x="4720661" y="419500"/>
                  <a:pt x="4737931" y="411800"/>
                  <a:pt x="4750205" y="396350"/>
                </a:cubicBezTo>
                <a:lnTo>
                  <a:pt x="4750205" y="415068"/>
                </a:lnTo>
                <a:lnTo>
                  <a:pt x="4791185" y="415068"/>
                </a:lnTo>
                <a:lnTo>
                  <a:pt x="4791185" y="256438"/>
                </a:lnTo>
                <a:lnTo>
                  <a:pt x="4750205" y="256438"/>
                </a:lnTo>
                <a:lnTo>
                  <a:pt x="4750205" y="275181"/>
                </a:lnTo>
                <a:cubicBezTo>
                  <a:pt x="4737905" y="259731"/>
                  <a:pt x="4720661" y="252006"/>
                  <a:pt x="4698421" y="252006"/>
                </a:cubicBezTo>
                <a:close/>
                <a:moveTo>
                  <a:pt x="4003422" y="252006"/>
                </a:moveTo>
                <a:cubicBezTo>
                  <a:pt x="3981815" y="252006"/>
                  <a:pt x="3966042" y="259402"/>
                  <a:pt x="3956076" y="274193"/>
                </a:cubicBezTo>
                <a:lnTo>
                  <a:pt x="3956076" y="256438"/>
                </a:lnTo>
                <a:lnTo>
                  <a:pt x="3915095" y="256438"/>
                </a:lnTo>
                <a:lnTo>
                  <a:pt x="3915095" y="415093"/>
                </a:lnTo>
                <a:lnTo>
                  <a:pt x="3956076" y="415093"/>
                </a:lnTo>
                <a:lnTo>
                  <a:pt x="3956076" y="329434"/>
                </a:lnTo>
                <a:cubicBezTo>
                  <a:pt x="3956076" y="316314"/>
                  <a:pt x="3959246" y="306487"/>
                  <a:pt x="3965611" y="299927"/>
                </a:cubicBezTo>
                <a:cubicBezTo>
                  <a:pt x="3971951" y="293392"/>
                  <a:pt x="3980421" y="290099"/>
                  <a:pt x="3991021" y="290099"/>
                </a:cubicBezTo>
                <a:cubicBezTo>
                  <a:pt x="4000556" y="290099"/>
                  <a:pt x="4008164" y="292911"/>
                  <a:pt x="4013895" y="298508"/>
                </a:cubicBezTo>
                <a:cubicBezTo>
                  <a:pt x="4019601" y="304106"/>
                  <a:pt x="4022467" y="312211"/>
                  <a:pt x="4022467" y="322772"/>
                </a:cubicBezTo>
                <a:lnTo>
                  <a:pt x="4022467" y="415093"/>
                </a:lnTo>
                <a:lnTo>
                  <a:pt x="4063447" y="415093"/>
                </a:lnTo>
                <a:lnTo>
                  <a:pt x="4063447" y="317682"/>
                </a:lnTo>
                <a:cubicBezTo>
                  <a:pt x="4063447" y="297166"/>
                  <a:pt x="4057767" y="281083"/>
                  <a:pt x="4046457" y="269457"/>
                </a:cubicBezTo>
                <a:cubicBezTo>
                  <a:pt x="4035121" y="257831"/>
                  <a:pt x="4020793" y="252006"/>
                  <a:pt x="4003422" y="252006"/>
                </a:cubicBezTo>
                <a:close/>
                <a:moveTo>
                  <a:pt x="3844596" y="213052"/>
                </a:moveTo>
                <a:cubicBezTo>
                  <a:pt x="3844596" y="237240"/>
                  <a:pt x="3864224" y="256844"/>
                  <a:pt x="3888442" y="256844"/>
                </a:cubicBezTo>
                <a:lnTo>
                  <a:pt x="3844596" y="256844"/>
                </a:lnTo>
                <a:lnTo>
                  <a:pt x="3844596" y="414815"/>
                </a:lnTo>
                <a:lnTo>
                  <a:pt x="3888442" y="414815"/>
                </a:lnTo>
                <a:lnTo>
                  <a:pt x="3888442" y="256844"/>
                </a:lnTo>
                <a:lnTo>
                  <a:pt x="3888442" y="213052"/>
                </a:lnTo>
                <a:close/>
                <a:moveTo>
                  <a:pt x="4815657" y="212672"/>
                </a:moveTo>
                <a:lnTo>
                  <a:pt x="4815657" y="415094"/>
                </a:lnTo>
                <a:lnTo>
                  <a:pt x="4856638" y="415094"/>
                </a:lnTo>
                <a:lnTo>
                  <a:pt x="4856638" y="212672"/>
                </a:lnTo>
                <a:close/>
                <a:moveTo>
                  <a:pt x="4096821" y="212672"/>
                </a:moveTo>
                <a:cubicBezTo>
                  <a:pt x="4096821" y="224754"/>
                  <a:pt x="4101722" y="235695"/>
                  <a:pt x="4109653" y="243620"/>
                </a:cubicBezTo>
                <a:lnTo>
                  <a:pt x="4140607" y="256439"/>
                </a:lnTo>
                <a:lnTo>
                  <a:pt x="4099661" y="256439"/>
                </a:lnTo>
                <a:lnTo>
                  <a:pt x="4072019" y="256439"/>
                </a:lnTo>
                <a:lnTo>
                  <a:pt x="4072019" y="295799"/>
                </a:lnTo>
                <a:lnTo>
                  <a:pt x="4099661" y="295799"/>
                </a:lnTo>
                <a:lnTo>
                  <a:pt x="4099661" y="361778"/>
                </a:lnTo>
                <a:cubicBezTo>
                  <a:pt x="4099661" y="383560"/>
                  <a:pt x="4105443" y="398681"/>
                  <a:pt x="4116981" y="407141"/>
                </a:cubicBezTo>
                <a:cubicBezTo>
                  <a:pt x="4128520" y="415600"/>
                  <a:pt x="4148376" y="418234"/>
                  <a:pt x="4176550" y="415068"/>
                </a:cubicBezTo>
                <a:lnTo>
                  <a:pt x="4176550" y="377938"/>
                </a:lnTo>
                <a:cubicBezTo>
                  <a:pt x="4168714" y="378368"/>
                  <a:pt x="4162146" y="378393"/>
                  <a:pt x="4156846" y="378089"/>
                </a:cubicBezTo>
                <a:cubicBezTo>
                  <a:pt x="4151546" y="377786"/>
                  <a:pt x="4147514" y="376342"/>
                  <a:pt x="4144775" y="373809"/>
                </a:cubicBezTo>
                <a:cubicBezTo>
                  <a:pt x="4142011" y="371276"/>
                  <a:pt x="4140641" y="367249"/>
                  <a:pt x="4140641" y="361753"/>
                </a:cubicBezTo>
                <a:lnTo>
                  <a:pt x="4140641" y="295773"/>
                </a:lnTo>
                <a:lnTo>
                  <a:pt x="4176550" y="295773"/>
                </a:lnTo>
                <a:lnTo>
                  <a:pt x="4176550" y="256439"/>
                </a:lnTo>
                <a:lnTo>
                  <a:pt x="4140667" y="256439"/>
                </a:lnTo>
                <a:lnTo>
                  <a:pt x="4140667" y="212672"/>
                </a:lnTo>
                <a:close/>
                <a:moveTo>
                  <a:pt x="0" y="0"/>
                </a:moveTo>
                <a:lnTo>
                  <a:pt x="5181602" y="0"/>
                </a:lnTo>
                <a:lnTo>
                  <a:pt x="5181602" y="5184339"/>
                </a:lnTo>
                <a:cubicBezTo>
                  <a:pt x="2319494" y="5184339"/>
                  <a:pt x="0" y="2862726"/>
                  <a:pt x="0" y="0"/>
                </a:cubicBezTo>
                <a:close/>
              </a:path>
            </a:pathLst>
          </a:custGeom>
          <a:solidFill>
            <a:schemeClr val="accent3">
              <a:alpha val="40079"/>
            </a:schemeClr>
          </a:solidFill>
          <a:ln w="1905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71758"/>
              </a:solidFill>
              <a:effectLst/>
              <a:uLnTx/>
              <a:uFillTx/>
              <a:latin typeface="Urbanist Medium"/>
              <a:ea typeface="+mn-ea"/>
              <a:cs typeface="+mn-cs"/>
            </a:endParaRPr>
          </a:p>
        </p:txBody>
      </p:sp>
      <p:sp>
        <p:nvSpPr>
          <p:cNvPr id="7" name="Text Placeholder 2">
            <a:extLst>
              <a:ext uri="{FF2B5EF4-FFF2-40B4-BE49-F238E27FC236}">
                <a16:creationId xmlns:a16="http://schemas.microsoft.com/office/drawing/2014/main" id="{93407B19-2470-8225-721D-9D48852D2291}"/>
              </a:ext>
            </a:extLst>
          </p:cNvPr>
          <p:cNvSpPr>
            <a:spLocks noGrp="1"/>
          </p:cNvSpPr>
          <p:nvPr>
            <p:ph type="body" sz="quarter" idx="10" hasCustomPrompt="1"/>
          </p:nvPr>
        </p:nvSpPr>
        <p:spPr>
          <a:xfrm>
            <a:off x="550862" y="613507"/>
            <a:ext cx="11090275" cy="369332"/>
          </a:xfrm>
        </p:spPr>
        <p:txBody>
          <a:bodyPr lIns="0" tIns="0" rIns="0" bIns="0" anchor="b">
            <a:noAutofit/>
          </a:bodyPr>
          <a:lstStyle>
            <a:lvl1pPr marL="0" indent="0">
              <a:lnSpc>
                <a:spcPct val="100000"/>
              </a:lnSpc>
              <a:spcBef>
                <a:spcPts val="0"/>
              </a:spcBef>
              <a:buNone/>
              <a:defRPr sz="2800" b="1">
                <a:solidFill>
                  <a:schemeClr val="tx2"/>
                </a:solidFill>
                <a:latin typeface="+mj-lt"/>
              </a:defRPr>
            </a:lvl1pPr>
          </a:lstStyle>
          <a:p>
            <a:pPr lvl="0"/>
            <a:r>
              <a:rPr lang="en-US"/>
              <a:t>Title with single content </a:t>
            </a:r>
          </a:p>
        </p:txBody>
      </p:sp>
      <p:sp>
        <p:nvSpPr>
          <p:cNvPr id="12" name="Slide Number Placeholder 5">
            <a:extLst>
              <a:ext uri="{FF2B5EF4-FFF2-40B4-BE49-F238E27FC236}">
                <a16:creationId xmlns:a16="http://schemas.microsoft.com/office/drawing/2014/main" id="{E399722A-98DF-32E8-5755-E851D0C5DF4D}"/>
              </a:ext>
            </a:extLst>
          </p:cNvPr>
          <p:cNvSpPr>
            <a:spLocks noGrp="1"/>
          </p:cNvSpPr>
          <p:nvPr>
            <p:ph type="sldNum" sz="quarter" idx="4"/>
          </p:nvPr>
        </p:nvSpPr>
        <p:spPr>
          <a:xfrm>
            <a:off x="11087100" y="6564440"/>
            <a:ext cx="554038" cy="138499"/>
          </a:xfrm>
          <a:prstGeom prst="rect">
            <a:avLst/>
          </a:prstGeom>
        </p:spPr>
        <p:txBody>
          <a:bodyPr wrap="square" lIns="0" tIns="0" rIns="0" bIns="0" anchor="ctr">
            <a:normAutofit/>
          </a:bodyPr>
          <a:lstStyle>
            <a:lvl1pPr algn="r">
              <a:defRPr sz="900">
                <a:solidFill>
                  <a:schemeClr val="tx1"/>
                </a:solidFill>
              </a:defRPr>
            </a:lvl1pPr>
          </a:lstStyle>
          <a:p>
            <a:fld id="{0E88EC54-15BE-9740-A323-DA3E96F2F863}" type="slidenum">
              <a:rPr lang="en-US" smtClean="0"/>
              <a:pPr/>
              <a:t>‹#›</a:t>
            </a:fld>
            <a:endParaRPr lang="en-US"/>
          </a:p>
        </p:txBody>
      </p:sp>
      <p:pic>
        <p:nvPicPr>
          <p:cNvPr id="66" name="Graphic 65">
            <a:extLst>
              <a:ext uri="{FF2B5EF4-FFF2-40B4-BE49-F238E27FC236}">
                <a16:creationId xmlns:a16="http://schemas.microsoft.com/office/drawing/2014/main" id="{96D8FE4F-4B48-4D5B-2873-8EDF4E792E22}"/>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595317" y="-62632"/>
            <a:ext cx="1584960" cy="894079"/>
          </a:xfrm>
          <a:prstGeom prst="rect">
            <a:avLst/>
          </a:prstGeom>
        </p:spPr>
      </p:pic>
      <p:sp>
        <p:nvSpPr>
          <p:cNvPr id="67" name="Text Placeholder 2">
            <a:extLst>
              <a:ext uri="{FF2B5EF4-FFF2-40B4-BE49-F238E27FC236}">
                <a16:creationId xmlns:a16="http://schemas.microsoft.com/office/drawing/2014/main" id="{37AE9715-5E48-926F-9352-09C44A717833}"/>
              </a:ext>
            </a:extLst>
          </p:cNvPr>
          <p:cNvSpPr>
            <a:spLocks noGrp="1"/>
          </p:cNvSpPr>
          <p:nvPr>
            <p:ph type="body" sz="quarter" idx="13" hasCustomPrompt="1"/>
          </p:nvPr>
        </p:nvSpPr>
        <p:spPr>
          <a:xfrm>
            <a:off x="550862" y="1116917"/>
            <a:ext cx="11090275" cy="246221"/>
          </a:xfrm>
        </p:spPr>
        <p:txBody>
          <a:bodyPr lIns="0" tIns="0" rIns="0" bIns="0" anchor="t">
            <a:noAutofit/>
          </a:bodyPr>
          <a:lstStyle>
            <a:lvl1pPr marL="0" indent="0">
              <a:lnSpc>
                <a:spcPct val="100000"/>
              </a:lnSpc>
              <a:spcBef>
                <a:spcPts val="0"/>
              </a:spcBef>
              <a:buNone/>
              <a:defRPr sz="1800" b="0">
                <a:solidFill>
                  <a:schemeClr val="tx2"/>
                </a:solidFill>
              </a:defRPr>
            </a:lvl1pPr>
          </a:lstStyle>
          <a:p>
            <a:pPr lvl="0"/>
            <a:r>
              <a:rPr lang="en-US"/>
              <a:t>Subtitle</a:t>
            </a:r>
          </a:p>
        </p:txBody>
      </p:sp>
      <p:sp>
        <p:nvSpPr>
          <p:cNvPr id="2" name="TextBox 1">
            <a:extLst>
              <a:ext uri="{FF2B5EF4-FFF2-40B4-BE49-F238E27FC236}">
                <a16:creationId xmlns:a16="http://schemas.microsoft.com/office/drawing/2014/main" id="{198CFBAA-5B3F-27C2-775A-CEA561C0BE4D}"/>
              </a:ext>
            </a:extLst>
          </p:cNvPr>
          <p:cNvSpPr txBox="1"/>
          <p:nvPr userDrawn="1"/>
        </p:nvSpPr>
        <p:spPr>
          <a:xfrm>
            <a:off x="550863" y="6564440"/>
            <a:ext cx="6429645" cy="138499"/>
          </a:xfrm>
          <a:prstGeom prst="rect">
            <a:avLst/>
          </a:prstGeom>
          <a:noFill/>
        </p:spPr>
        <p:txBody>
          <a:bodyPr wrap="none" lIns="0" tIns="0" rIns="0" bIns="0" rtlCol="0" anchor="ctr">
            <a:normAutofit/>
          </a:bodyPr>
          <a:lstStyle/>
          <a:p>
            <a:r>
              <a:rPr lang="en-US" sz="900" b="0" i="0" u="none" strike="noStrike" baseline="0">
                <a:solidFill>
                  <a:schemeClr val="tx1"/>
                </a:solidFill>
                <a:effectLst/>
                <a:latin typeface="+mn-lt"/>
                <a:ea typeface="Urbanist Medium" panose="020B0A04040200000203" pitchFamily="34" charset="77"/>
                <a:cs typeface="Urbanist Medium" panose="020B0A04040200000203" pitchFamily="34" charset="77"/>
              </a:rPr>
              <a:t>© 2024 Interval International – Confidential and Proprietary.  Unauthorized copying, distribution, disclosure or use is prohibited.  </a:t>
            </a:r>
          </a:p>
        </p:txBody>
      </p:sp>
      <p:sp>
        <p:nvSpPr>
          <p:cNvPr id="8" name="Text Placeholder 2">
            <a:extLst>
              <a:ext uri="{FF2B5EF4-FFF2-40B4-BE49-F238E27FC236}">
                <a16:creationId xmlns:a16="http://schemas.microsoft.com/office/drawing/2014/main" id="{3C8255AB-9E37-20E6-AD65-656CECAEC12E}"/>
              </a:ext>
            </a:extLst>
          </p:cNvPr>
          <p:cNvSpPr>
            <a:spLocks noGrp="1"/>
          </p:cNvSpPr>
          <p:nvPr>
            <p:ph type="body" sz="quarter" idx="14" hasCustomPrompt="1"/>
          </p:nvPr>
        </p:nvSpPr>
        <p:spPr>
          <a:xfrm>
            <a:off x="550861" y="1903964"/>
            <a:ext cx="5545139" cy="274320"/>
          </a:xfrm>
        </p:spPr>
        <p:txBody>
          <a:bodyPr lIns="0" tIns="0" rIns="0" bIns="0" anchor="t">
            <a:normAutofit/>
          </a:bodyPr>
          <a:lstStyle>
            <a:lvl1pPr marL="0" indent="0">
              <a:lnSpc>
                <a:spcPct val="100000"/>
              </a:lnSpc>
              <a:spcBef>
                <a:spcPts val="0"/>
              </a:spcBef>
              <a:buNone/>
              <a:defRPr sz="1600" b="1">
                <a:solidFill>
                  <a:schemeClr val="accent4"/>
                </a:solidFill>
                <a:latin typeface="+mj-lt"/>
              </a:defRPr>
            </a:lvl1pPr>
          </a:lstStyle>
          <a:p>
            <a:pPr lvl="0"/>
            <a:r>
              <a:rPr lang="en-US"/>
              <a:t>Click to add text</a:t>
            </a:r>
          </a:p>
        </p:txBody>
      </p:sp>
      <p:sp>
        <p:nvSpPr>
          <p:cNvPr id="10" name="Text Placeholder 2">
            <a:extLst>
              <a:ext uri="{FF2B5EF4-FFF2-40B4-BE49-F238E27FC236}">
                <a16:creationId xmlns:a16="http://schemas.microsoft.com/office/drawing/2014/main" id="{4B83899D-003C-17B9-4690-F0E32DB94E56}"/>
              </a:ext>
            </a:extLst>
          </p:cNvPr>
          <p:cNvSpPr>
            <a:spLocks noGrp="1"/>
          </p:cNvSpPr>
          <p:nvPr>
            <p:ph type="body" sz="quarter" idx="17" hasCustomPrompt="1"/>
          </p:nvPr>
        </p:nvSpPr>
        <p:spPr>
          <a:xfrm>
            <a:off x="550861" y="2256389"/>
            <a:ext cx="5545139" cy="1295227"/>
          </a:xfrm>
        </p:spPr>
        <p:txBody>
          <a:bodyPr lIns="0" tIns="0" rIns="0" bIns="0" anchor="t">
            <a:normAutofit/>
          </a:bodyPr>
          <a:lstStyle>
            <a:lvl1pPr marL="0" indent="0">
              <a:lnSpc>
                <a:spcPct val="100000"/>
              </a:lnSpc>
              <a:spcBef>
                <a:spcPts val="0"/>
              </a:spcBef>
              <a:buNone/>
              <a:defRPr sz="1400" b="0">
                <a:solidFill>
                  <a:srgbClr val="666666"/>
                </a:solidFill>
                <a:latin typeface="+mn-lt"/>
              </a:defRPr>
            </a:lvl1pPr>
          </a:lstStyle>
          <a:p>
            <a:pPr lvl="0"/>
            <a:r>
              <a:rPr lang="en-US"/>
              <a:t>Click to add text</a:t>
            </a:r>
          </a:p>
        </p:txBody>
      </p:sp>
      <p:sp>
        <p:nvSpPr>
          <p:cNvPr id="4" name="Text Placeholder 2">
            <a:extLst>
              <a:ext uri="{FF2B5EF4-FFF2-40B4-BE49-F238E27FC236}">
                <a16:creationId xmlns:a16="http://schemas.microsoft.com/office/drawing/2014/main" id="{D6AE4985-91CA-ED75-5F89-1EFA933CF651}"/>
              </a:ext>
            </a:extLst>
          </p:cNvPr>
          <p:cNvSpPr>
            <a:spLocks noGrp="1"/>
          </p:cNvSpPr>
          <p:nvPr>
            <p:ph type="body" sz="quarter" idx="20" hasCustomPrompt="1"/>
          </p:nvPr>
        </p:nvSpPr>
        <p:spPr>
          <a:xfrm>
            <a:off x="550861" y="3995663"/>
            <a:ext cx="5545139" cy="274320"/>
          </a:xfrm>
        </p:spPr>
        <p:txBody>
          <a:bodyPr lIns="0" tIns="0" rIns="0" bIns="0" anchor="t">
            <a:normAutofit/>
          </a:bodyPr>
          <a:lstStyle>
            <a:lvl1pPr marL="0" indent="0">
              <a:lnSpc>
                <a:spcPct val="100000"/>
              </a:lnSpc>
              <a:spcBef>
                <a:spcPts val="0"/>
              </a:spcBef>
              <a:buNone/>
              <a:defRPr sz="1600" b="1">
                <a:solidFill>
                  <a:schemeClr val="accent1"/>
                </a:solidFill>
                <a:latin typeface="+mj-lt"/>
              </a:defRPr>
            </a:lvl1pPr>
          </a:lstStyle>
          <a:p>
            <a:pPr lvl="0"/>
            <a:r>
              <a:rPr lang="en-US"/>
              <a:t>Click to add text</a:t>
            </a:r>
          </a:p>
        </p:txBody>
      </p:sp>
      <p:sp>
        <p:nvSpPr>
          <p:cNvPr id="5" name="Text Placeholder 2">
            <a:extLst>
              <a:ext uri="{FF2B5EF4-FFF2-40B4-BE49-F238E27FC236}">
                <a16:creationId xmlns:a16="http://schemas.microsoft.com/office/drawing/2014/main" id="{6EDA259E-3285-CAC1-1A2A-35118451B1B0}"/>
              </a:ext>
            </a:extLst>
          </p:cNvPr>
          <p:cNvSpPr>
            <a:spLocks noGrp="1"/>
          </p:cNvSpPr>
          <p:nvPr>
            <p:ph type="body" sz="quarter" idx="21" hasCustomPrompt="1"/>
          </p:nvPr>
        </p:nvSpPr>
        <p:spPr>
          <a:xfrm>
            <a:off x="550861" y="4348088"/>
            <a:ext cx="5545139" cy="1295227"/>
          </a:xfrm>
        </p:spPr>
        <p:txBody>
          <a:bodyPr lIns="0" tIns="0" rIns="0" bIns="0" anchor="t">
            <a:normAutofit/>
          </a:bodyPr>
          <a:lstStyle>
            <a:lvl1pPr marL="0" indent="0">
              <a:lnSpc>
                <a:spcPct val="100000"/>
              </a:lnSpc>
              <a:spcBef>
                <a:spcPts val="0"/>
              </a:spcBef>
              <a:buNone/>
              <a:defRPr sz="1400" b="0">
                <a:solidFill>
                  <a:srgbClr val="666666"/>
                </a:solidFill>
                <a:latin typeface="+mn-lt"/>
              </a:defRPr>
            </a:lvl1pPr>
          </a:lstStyle>
          <a:p>
            <a:pPr lvl="0"/>
            <a:r>
              <a:rPr lang="en-US"/>
              <a:t>Click to add text</a:t>
            </a:r>
          </a:p>
        </p:txBody>
      </p:sp>
    </p:spTree>
    <p:extLst>
      <p:ext uri="{BB962C8B-B14F-4D97-AF65-F5344CB8AC3E}">
        <p14:creationId xmlns:p14="http://schemas.microsoft.com/office/powerpoint/2010/main" val="83351418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with text_2">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71B1282-2832-37F2-1D88-6B51300C94DB}"/>
              </a:ext>
            </a:extLst>
          </p:cNvPr>
          <p:cNvGraphicFramePr>
            <a:graphicFrameLocks noChangeAspect="1"/>
          </p:cNvGraphicFramePr>
          <p:nvPr userDrawn="1">
            <p:custDataLst>
              <p:tags r:id="rId1"/>
            </p:custDataLst>
            <p:extLst>
              <p:ext uri="{D42A27DB-BD31-4B8C-83A1-F6EECF244321}">
                <p14:modId xmlns:p14="http://schemas.microsoft.com/office/powerpoint/2010/main" val="3277825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9" name="think-cell data - do not delete" hidden="1">
                        <a:extLst>
                          <a:ext uri="{FF2B5EF4-FFF2-40B4-BE49-F238E27FC236}">
                            <a16:creationId xmlns:a16="http://schemas.microsoft.com/office/drawing/2014/main" id="{771B1282-2832-37F2-1D88-6B51300C9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reeform: Shape 3">
            <a:extLst>
              <a:ext uri="{FF2B5EF4-FFF2-40B4-BE49-F238E27FC236}">
                <a16:creationId xmlns:a16="http://schemas.microsoft.com/office/drawing/2014/main" id="{0266F858-7E6A-2397-E5A7-DDB54ABD8893}"/>
              </a:ext>
            </a:extLst>
          </p:cNvPr>
          <p:cNvSpPr/>
          <p:nvPr userDrawn="1"/>
        </p:nvSpPr>
        <p:spPr>
          <a:xfrm>
            <a:off x="7010400" y="315"/>
            <a:ext cx="5181602" cy="6857685"/>
          </a:xfrm>
          <a:custGeom>
            <a:avLst/>
            <a:gdLst>
              <a:gd name="connsiteX0" fmla="*/ 0 w 5181602"/>
              <a:gd name="connsiteY0" fmla="*/ 5184339 h 6857685"/>
              <a:gd name="connsiteX1" fmla="*/ 5181602 w 5181602"/>
              <a:gd name="connsiteY1" fmla="*/ 5184339 h 6857685"/>
              <a:gd name="connsiteX2" fmla="*/ 5181602 w 5181602"/>
              <a:gd name="connsiteY2" fmla="*/ 6857685 h 6857685"/>
              <a:gd name="connsiteX3" fmla="*/ 0 w 5181602"/>
              <a:gd name="connsiteY3" fmla="*/ 6857685 h 6857685"/>
              <a:gd name="connsiteX4" fmla="*/ 4650365 w 5181602"/>
              <a:gd name="connsiteY4" fmla="*/ 505489 h 6857685"/>
              <a:gd name="connsiteX5" fmla="*/ 4658734 w 5181602"/>
              <a:gd name="connsiteY5" fmla="*/ 530842 h 6857685"/>
              <a:gd name="connsiteX6" fmla="*/ 4641996 w 5181602"/>
              <a:gd name="connsiteY6" fmla="*/ 530842 h 6857685"/>
              <a:gd name="connsiteX7" fmla="*/ 4372046 w 5181602"/>
              <a:gd name="connsiteY7" fmla="*/ 505489 h 6857685"/>
              <a:gd name="connsiteX8" fmla="*/ 4380415 w 5181602"/>
              <a:gd name="connsiteY8" fmla="*/ 530842 h 6857685"/>
              <a:gd name="connsiteX9" fmla="*/ 4363677 w 5181602"/>
              <a:gd name="connsiteY9" fmla="*/ 530842 h 6857685"/>
              <a:gd name="connsiteX10" fmla="*/ 4237870 w 5181602"/>
              <a:gd name="connsiteY10" fmla="*/ 502804 h 6857685"/>
              <a:gd name="connsiteX11" fmla="*/ 4250270 w 5181602"/>
              <a:gd name="connsiteY11" fmla="*/ 502804 h 6857685"/>
              <a:gd name="connsiteX12" fmla="*/ 4256103 w 5181602"/>
              <a:gd name="connsiteY12" fmla="*/ 505463 h 6857685"/>
              <a:gd name="connsiteX13" fmla="*/ 4258538 w 5181602"/>
              <a:gd name="connsiteY13" fmla="*/ 511947 h 6857685"/>
              <a:gd name="connsiteX14" fmla="*/ 4256103 w 5181602"/>
              <a:gd name="connsiteY14" fmla="*/ 518457 h 6857685"/>
              <a:gd name="connsiteX15" fmla="*/ 4250270 w 5181602"/>
              <a:gd name="connsiteY15" fmla="*/ 521167 h 6857685"/>
              <a:gd name="connsiteX16" fmla="*/ 4237870 w 5181602"/>
              <a:gd name="connsiteY16" fmla="*/ 521167 h 6857685"/>
              <a:gd name="connsiteX17" fmla="*/ 4517507 w 5181602"/>
              <a:gd name="connsiteY17" fmla="*/ 502019 h 6857685"/>
              <a:gd name="connsiteX18" fmla="*/ 4531556 w 5181602"/>
              <a:gd name="connsiteY18" fmla="*/ 507794 h 6857685"/>
              <a:gd name="connsiteX19" fmla="*/ 4537236 w 5181602"/>
              <a:gd name="connsiteY19" fmla="*/ 522408 h 6857685"/>
              <a:gd name="connsiteX20" fmla="*/ 4531556 w 5181602"/>
              <a:gd name="connsiteY20" fmla="*/ 536997 h 6857685"/>
              <a:gd name="connsiteX21" fmla="*/ 4517507 w 5181602"/>
              <a:gd name="connsiteY21" fmla="*/ 542721 h 6857685"/>
              <a:gd name="connsiteX22" fmla="*/ 4503458 w 5181602"/>
              <a:gd name="connsiteY22" fmla="*/ 536997 h 6857685"/>
              <a:gd name="connsiteX23" fmla="*/ 4497777 w 5181602"/>
              <a:gd name="connsiteY23" fmla="*/ 522408 h 6857685"/>
              <a:gd name="connsiteX24" fmla="*/ 4503458 w 5181602"/>
              <a:gd name="connsiteY24" fmla="*/ 507794 h 6857685"/>
              <a:gd name="connsiteX25" fmla="*/ 4517507 w 5181602"/>
              <a:gd name="connsiteY25" fmla="*/ 502019 h 6857685"/>
              <a:gd name="connsiteX26" fmla="*/ 4690432 w 5181602"/>
              <a:gd name="connsiteY26" fmla="*/ 491381 h 6857685"/>
              <a:gd name="connsiteX27" fmla="*/ 4690432 w 5181602"/>
              <a:gd name="connsiteY27" fmla="*/ 553435 h 6857685"/>
              <a:gd name="connsiteX28" fmla="*/ 4725758 w 5181602"/>
              <a:gd name="connsiteY28" fmla="*/ 553435 h 6857685"/>
              <a:gd name="connsiteX29" fmla="*/ 4725758 w 5181602"/>
              <a:gd name="connsiteY29" fmla="*/ 541733 h 6857685"/>
              <a:gd name="connsiteX30" fmla="*/ 4702478 w 5181602"/>
              <a:gd name="connsiteY30" fmla="*/ 541733 h 6857685"/>
              <a:gd name="connsiteX31" fmla="*/ 4702478 w 5181602"/>
              <a:gd name="connsiteY31" fmla="*/ 491381 h 6857685"/>
              <a:gd name="connsiteX32" fmla="*/ 4642884 w 5181602"/>
              <a:gd name="connsiteY32" fmla="*/ 491381 h 6857685"/>
              <a:gd name="connsiteX33" fmla="*/ 4621506 w 5181602"/>
              <a:gd name="connsiteY33" fmla="*/ 553435 h 6857685"/>
              <a:gd name="connsiteX34" fmla="*/ 4634515 w 5181602"/>
              <a:gd name="connsiteY34" fmla="*/ 553435 h 6857685"/>
              <a:gd name="connsiteX35" fmla="*/ 4638167 w 5181602"/>
              <a:gd name="connsiteY35" fmla="*/ 542265 h 6857685"/>
              <a:gd name="connsiteX36" fmla="*/ 4662512 w 5181602"/>
              <a:gd name="connsiteY36" fmla="*/ 542265 h 6857685"/>
              <a:gd name="connsiteX37" fmla="*/ 4666189 w 5181602"/>
              <a:gd name="connsiteY37" fmla="*/ 553435 h 6857685"/>
              <a:gd name="connsiteX38" fmla="*/ 4679275 w 5181602"/>
              <a:gd name="connsiteY38" fmla="*/ 553435 h 6857685"/>
              <a:gd name="connsiteX39" fmla="*/ 4657821 w 5181602"/>
              <a:gd name="connsiteY39" fmla="*/ 491381 h 6857685"/>
              <a:gd name="connsiteX40" fmla="*/ 4562951 w 5181602"/>
              <a:gd name="connsiteY40" fmla="*/ 491381 h 6857685"/>
              <a:gd name="connsiteX41" fmla="*/ 4562951 w 5181602"/>
              <a:gd name="connsiteY41" fmla="*/ 553435 h 6857685"/>
              <a:gd name="connsiteX42" fmla="*/ 4574997 w 5181602"/>
              <a:gd name="connsiteY42" fmla="*/ 553435 h 6857685"/>
              <a:gd name="connsiteX43" fmla="*/ 4574997 w 5181602"/>
              <a:gd name="connsiteY43" fmla="*/ 515493 h 6857685"/>
              <a:gd name="connsiteX44" fmla="*/ 4601167 w 5181602"/>
              <a:gd name="connsiteY44" fmla="*/ 553435 h 6857685"/>
              <a:gd name="connsiteX45" fmla="*/ 4610348 w 5181602"/>
              <a:gd name="connsiteY45" fmla="*/ 553435 h 6857685"/>
              <a:gd name="connsiteX46" fmla="*/ 4610348 w 5181602"/>
              <a:gd name="connsiteY46" fmla="*/ 491381 h 6857685"/>
              <a:gd name="connsiteX47" fmla="*/ 4598302 w 5181602"/>
              <a:gd name="connsiteY47" fmla="*/ 491381 h 6857685"/>
              <a:gd name="connsiteX48" fmla="*/ 4598302 w 5181602"/>
              <a:gd name="connsiteY48" fmla="*/ 529246 h 6857685"/>
              <a:gd name="connsiteX49" fmla="*/ 4572131 w 5181602"/>
              <a:gd name="connsiteY49" fmla="*/ 491381 h 6857685"/>
              <a:gd name="connsiteX50" fmla="*/ 4460017 w 5181602"/>
              <a:gd name="connsiteY50" fmla="*/ 491381 h 6857685"/>
              <a:gd name="connsiteX51" fmla="*/ 4460017 w 5181602"/>
              <a:gd name="connsiteY51" fmla="*/ 553435 h 6857685"/>
              <a:gd name="connsiteX52" fmla="*/ 4472063 w 5181602"/>
              <a:gd name="connsiteY52" fmla="*/ 553435 h 6857685"/>
              <a:gd name="connsiteX53" fmla="*/ 4472063 w 5181602"/>
              <a:gd name="connsiteY53" fmla="*/ 491381 h 6857685"/>
              <a:gd name="connsiteX54" fmla="*/ 4403111 w 5181602"/>
              <a:gd name="connsiteY54" fmla="*/ 491381 h 6857685"/>
              <a:gd name="connsiteX55" fmla="*/ 4403111 w 5181602"/>
              <a:gd name="connsiteY55" fmla="*/ 503083 h 6857685"/>
              <a:gd name="connsiteX56" fmla="*/ 4419518 w 5181602"/>
              <a:gd name="connsiteY56" fmla="*/ 503083 h 6857685"/>
              <a:gd name="connsiteX57" fmla="*/ 4419518 w 5181602"/>
              <a:gd name="connsiteY57" fmla="*/ 553435 h 6857685"/>
              <a:gd name="connsiteX58" fmla="*/ 4431564 w 5181602"/>
              <a:gd name="connsiteY58" fmla="*/ 553435 h 6857685"/>
              <a:gd name="connsiteX59" fmla="*/ 4431564 w 5181602"/>
              <a:gd name="connsiteY59" fmla="*/ 503083 h 6857685"/>
              <a:gd name="connsiteX60" fmla="*/ 4448048 w 5181602"/>
              <a:gd name="connsiteY60" fmla="*/ 503083 h 6857685"/>
              <a:gd name="connsiteX61" fmla="*/ 4448048 w 5181602"/>
              <a:gd name="connsiteY61" fmla="*/ 491381 h 6857685"/>
              <a:gd name="connsiteX62" fmla="*/ 4364565 w 5181602"/>
              <a:gd name="connsiteY62" fmla="*/ 491381 h 6857685"/>
              <a:gd name="connsiteX63" fmla="*/ 4343187 w 5181602"/>
              <a:gd name="connsiteY63" fmla="*/ 553435 h 6857685"/>
              <a:gd name="connsiteX64" fmla="*/ 4356196 w 5181602"/>
              <a:gd name="connsiteY64" fmla="*/ 553435 h 6857685"/>
              <a:gd name="connsiteX65" fmla="*/ 4359873 w 5181602"/>
              <a:gd name="connsiteY65" fmla="*/ 542265 h 6857685"/>
              <a:gd name="connsiteX66" fmla="*/ 4384218 w 5181602"/>
              <a:gd name="connsiteY66" fmla="*/ 542265 h 6857685"/>
              <a:gd name="connsiteX67" fmla="*/ 4387870 w 5181602"/>
              <a:gd name="connsiteY67" fmla="*/ 553435 h 6857685"/>
              <a:gd name="connsiteX68" fmla="*/ 4400956 w 5181602"/>
              <a:gd name="connsiteY68" fmla="*/ 553435 h 6857685"/>
              <a:gd name="connsiteX69" fmla="*/ 4379502 w 5181602"/>
              <a:gd name="connsiteY69" fmla="*/ 491381 h 6857685"/>
              <a:gd name="connsiteX70" fmla="*/ 4284632 w 5181602"/>
              <a:gd name="connsiteY70" fmla="*/ 491381 h 6857685"/>
              <a:gd name="connsiteX71" fmla="*/ 4284632 w 5181602"/>
              <a:gd name="connsiteY71" fmla="*/ 553435 h 6857685"/>
              <a:gd name="connsiteX72" fmla="*/ 4296678 w 5181602"/>
              <a:gd name="connsiteY72" fmla="*/ 553435 h 6857685"/>
              <a:gd name="connsiteX73" fmla="*/ 4296678 w 5181602"/>
              <a:gd name="connsiteY73" fmla="*/ 515493 h 6857685"/>
              <a:gd name="connsiteX74" fmla="*/ 4322848 w 5181602"/>
              <a:gd name="connsiteY74" fmla="*/ 553435 h 6857685"/>
              <a:gd name="connsiteX75" fmla="*/ 4332003 w 5181602"/>
              <a:gd name="connsiteY75" fmla="*/ 553435 h 6857685"/>
              <a:gd name="connsiteX76" fmla="*/ 4332003 w 5181602"/>
              <a:gd name="connsiteY76" fmla="*/ 491381 h 6857685"/>
              <a:gd name="connsiteX77" fmla="*/ 4319983 w 5181602"/>
              <a:gd name="connsiteY77" fmla="*/ 491381 h 6857685"/>
              <a:gd name="connsiteX78" fmla="*/ 4319983 w 5181602"/>
              <a:gd name="connsiteY78" fmla="*/ 529246 h 6857685"/>
              <a:gd name="connsiteX79" fmla="*/ 4293787 w 5181602"/>
              <a:gd name="connsiteY79" fmla="*/ 491381 h 6857685"/>
              <a:gd name="connsiteX80" fmla="*/ 4225824 w 5181602"/>
              <a:gd name="connsiteY80" fmla="*/ 491381 h 6857685"/>
              <a:gd name="connsiteX81" fmla="*/ 4225824 w 5181602"/>
              <a:gd name="connsiteY81" fmla="*/ 553435 h 6857685"/>
              <a:gd name="connsiteX82" fmla="*/ 4237870 w 5181602"/>
              <a:gd name="connsiteY82" fmla="*/ 553435 h 6857685"/>
              <a:gd name="connsiteX83" fmla="*/ 4237870 w 5181602"/>
              <a:gd name="connsiteY83" fmla="*/ 531906 h 6857685"/>
              <a:gd name="connsiteX84" fmla="*/ 4247024 w 5181602"/>
              <a:gd name="connsiteY84" fmla="*/ 531906 h 6857685"/>
              <a:gd name="connsiteX85" fmla="*/ 4259324 w 5181602"/>
              <a:gd name="connsiteY85" fmla="*/ 553435 h 6857685"/>
              <a:gd name="connsiteX86" fmla="*/ 4272333 w 5181602"/>
              <a:gd name="connsiteY86" fmla="*/ 553435 h 6857685"/>
              <a:gd name="connsiteX87" fmla="*/ 4258817 w 5181602"/>
              <a:gd name="connsiteY87" fmla="*/ 530032 h 6857685"/>
              <a:gd name="connsiteX88" fmla="*/ 4267363 w 5181602"/>
              <a:gd name="connsiteY88" fmla="*/ 522636 h 6857685"/>
              <a:gd name="connsiteX89" fmla="*/ 4270583 w 5181602"/>
              <a:gd name="connsiteY89" fmla="*/ 511947 h 6857685"/>
              <a:gd name="connsiteX90" fmla="*/ 4264649 w 5181602"/>
              <a:gd name="connsiteY90" fmla="*/ 497409 h 6857685"/>
              <a:gd name="connsiteX91" fmla="*/ 4250245 w 5181602"/>
              <a:gd name="connsiteY91" fmla="*/ 491381 h 6857685"/>
              <a:gd name="connsiteX92" fmla="*/ 4174344 w 5181602"/>
              <a:gd name="connsiteY92" fmla="*/ 491381 h 6857685"/>
              <a:gd name="connsiteX93" fmla="*/ 4174344 w 5181602"/>
              <a:gd name="connsiteY93" fmla="*/ 553435 h 6857685"/>
              <a:gd name="connsiteX94" fmla="*/ 4212129 w 5181602"/>
              <a:gd name="connsiteY94" fmla="*/ 553435 h 6857685"/>
              <a:gd name="connsiteX95" fmla="*/ 4212129 w 5181602"/>
              <a:gd name="connsiteY95" fmla="*/ 541733 h 6857685"/>
              <a:gd name="connsiteX96" fmla="*/ 4186390 w 5181602"/>
              <a:gd name="connsiteY96" fmla="*/ 541733 h 6857685"/>
              <a:gd name="connsiteX97" fmla="*/ 4186390 w 5181602"/>
              <a:gd name="connsiteY97" fmla="*/ 527828 h 6857685"/>
              <a:gd name="connsiteX98" fmla="*/ 4209517 w 5181602"/>
              <a:gd name="connsiteY98" fmla="*/ 527828 h 6857685"/>
              <a:gd name="connsiteX99" fmla="*/ 4209517 w 5181602"/>
              <a:gd name="connsiteY99" fmla="*/ 516304 h 6857685"/>
              <a:gd name="connsiteX100" fmla="*/ 4186390 w 5181602"/>
              <a:gd name="connsiteY100" fmla="*/ 516304 h 6857685"/>
              <a:gd name="connsiteX101" fmla="*/ 4186390 w 5181602"/>
              <a:gd name="connsiteY101" fmla="*/ 503083 h 6857685"/>
              <a:gd name="connsiteX102" fmla="*/ 4211698 w 5181602"/>
              <a:gd name="connsiteY102" fmla="*/ 503083 h 6857685"/>
              <a:gd name="connsiteX103" fmla="*/ 4211698 w 5181602"/>
              <a:gd name="connsiteY103" fmla="*/ 491381 h 6857685"/>
              <a:gd name="connsiteX104" fmla="*/ 4117463 w 5181602"/>
              <a:gd name="connsiteY104" fmla="*/ 491381 h 6857685"/>
              <a:gd name="connsiteX105" fmla="*/ 4117463 w 5181602"/>
              <a:gd name="connsiteY105" fmla="*/ 503083 h 6857685"/>
              <a:gd name="connsiteX106" fmla="*/ 4133871 w 5181602"/>
              <a:gd name="connsiteY106" fmla="*/ 503083 h 6857685"/>
              <a:gd name="connsiteX107" fmla="*/ 4133871 w 5181602"/>
              <a:gd name="connsiteY107" fmla="*/ 553435 h 6857685"/>
              <a:gd name="connsiteX108" fmla="*/ 4145916 w 5181602"/>
              <a:gd name="connsiteY108" fmla="*/ 553435 h 6857685"/>
              <a:gd name="connsiteX109" fmla="*/ 4145916 w 5181602"/>
              <a:gd name="connsiteY109" fmla="*/ 503083 h 6857685"/>
              <a:gd name="connsiteX110" fmla="*/ 4162400 w 5181602"/>
              <a:gd name="connsiteY110" fmla="*/ 503083 h 6857685"/>
              <a:gd name="connsiteX111" fmla="*/ 4162400 w 5181602"/>
              <a:gd name="connsiteY111" fmla="*/ 491381 h 6857685"/>
              <a:gd name="connsiteX112" fmla="*/ 4058046 w 5181602"/>
              <a:gd name="connsiteY112" fmla="*/ 491381 h 6857685"/>
              <a:gd name="connsiteX113" fmla="*/ 4058046 w 5181602"/>
              <a:gd name="connsiteY113" fmla="*/ 553435 h 6857685"/>
              <a:gd name="connsiteX114" fmla="*/ 4070092 w 5181602"/>
              <a:gd name="connsiteY114" fmla="*/ 553435 h 6857685"/>
              <a:gd name="connsiteX115" fmla="*/ 4070092 w 5181602"/>
              <a:gd name="connsiteY115" fmla="*/ 515493 h 6857685"/>
              <a:gd name="connsiteX116" fmla="*/ 4096263 w 5181602"/>
              <a:gd name="connsiteY116" fmla="*/ 553435 h 6857685"/>
              <a:gd name="connsiteX117" fmla="*/ 4105417 w 5181602"/>
              <a:gd name="connsiteY117" fmla="*/ 553435 h 6857685"/>
              <a:gd name="connsiteX118" fmla="*/ 4105417 w 5181602"/>
              <a:gd name="connsiteY118" fmla="*/ 491381 h 6857685"/>
              <a:gd name="connsiteX119" fmla="*/ 4093372 w 5181602"/>
              <a:gd name="connsiteY119" fmla="*/ 491381 h 6857685"/>
              <a:gd name="connsiteX120" fmla="*/ 4093372 w 5181602"/>
              <a:gd name="connsiteY120" fmla="*/ 529246 h 6857685"/>
              <a:gd name="connsiteX121" fmla="*/ 4067201 w 5181602"/>
              <a:gd name="connsiteY121" fmla="*/ 491381 h 6857685"/>
              <a:gd name="connsiteX122" fmla="*/ 4029441 w 5181602"/>
              <a:gd name="connsiteY122" fmla="*/ 491381 h 6857685"/>
              <a:gd name="connsiteX123" fmla="*/ 4029441 w 5181602"/>
              <a:gd name="connsiteY123" fmla="*/ 553435 h 6857685"/>
              <a:gd name="connsiteX124" fmla="*/ 4041487 w 5181602"/>
              <a:gd name="connsiteY124" fmla="*/ 553435 h 6857685"/>
              <a:gd name="connsiteX125" fmla="*/ 4041487 w 5181602"/>
              <a:gd name="connsiteY125" fmla="*/ 491381 h 6857685"/>
              <a:gd name="connsiteX126" fmla="*/ 4517507 w 5181602"/>
              <a:gd name="connsiteY126" fmla="*/ 490140 h 6857685"/>
              <a:gd name="connsiteX127" fmla="*/ 4495038 w 5181602"/>
              <a:gd name="connsiteY127" fmla="*/ 499486 h 6857685"/>
              <a:gd name="connsiteX128" fmla="*/ 4485833 w 5181602"/>
              <a:gd name="connsiteY128" fmla="*/ 522408 h 6857685"/>
              <a:gd name="connsiteX129" fmla="*/ 4495038 w 5181602"/>
              <a:gd name="connsiteY129" fmla="*/ 545330 h 6857685"/>
              <a:gd name="connsiteX130" fmla="*/ 4517507 w 5181602"/>
              <a:gd name="connsiteY130" fmla="*/ 554676 h 6857685"/>
              <a:gd name="connsiteX131" fmla="*/ 4540026 w 5181602"/>
              <a:gd name="connsiteY131" fmla="*/ 545330 h 6857685"/>
              <a:gd name="connsiteX132" fmla="*/ 4549282 w 5181602"/>
              <a:gd name="connsiteY132" fmla="*/ 522408 h 6857685"/>
              <a:gd name="connsiteX133" fmla="*/ 4540026 w 5181602"/>
              <a:gd name="connsiteY133" fmla="*/ 499486 h 6857685"/>
              <a:gd name="connsiteX134" fmla="*/ 4517507 w 5181602"/>
              <a:gd name="connsiteY134" fmla="*/ 490140 h 6857685"/>
              <a:gd name="connsiteX135" fmla="*/ 4887982 w 5181602"/>
              <a:gd name="connsiteY135" fmla="*/ 391994 h 6857685"/>
              <a:gd name="connsiteX136" fmla="*/ 4887982 w 5181602"/>
              <a:gd name="connsiteY136" fmla="*/ 415068 h 6857685"/>
              <a:gd name="connsiteX137" fmla="*/ 4892547 w 5181602"/>
              <a:gd name="connsiteY137" fmla="*/ 415068 h 6857685"/>
              <a:gd name="connsiteX138" fmla="*/ 4892547 w 5181602"/>
              <a:gd name="connsiteY138" fmla="*/ 400124 h 6857685"/>
              <a:gd name="connsiteX139" fmla="*/ 4899039 w 5181602"/>
              <a:gd name="connsiteY139" fmla="*/ 410813 h 6857685"/>
              <a:gd name="connsiteX140" fmla="*/ 4899571 w 5181602"/>
              <a:gd name="connsiteY140" fmla="*/ 410813 h 6857685"/>
              <a:gd name="connsiteX141" fmla="*/ 4906088 w 5181602"/>
              <a:gd name="connsiteY141" fmla="*/ 400099 h 6857685"/>
              <a:gd name="connsiteX142" fmla="*/ 4906088 w 5181602"/>
              <a:gd name="connsiteY142" fmla="*/ 415068 h 6857685"/>
              <a:gd name="connsiteX143" fmla="*/ 4910603 w 5181602"/>
              <a:gd name="connsiteY143" fmla="*/ 415068 h 6857685"/>
              <a:gd name="connsiteX144" fmla="*/ 4910603 w 5181602"/>
              <a:gd name="connsiteY144" fmla="*/ 391994 h 6857685"/>
              <a:gd name="connsiteX145" fmla="*/ 4905911 w 5181602"/>
              <a:gd name="connsiteY145" fmla="*/ 391994 h 6857685"/>
              <a:gd name="connsiteX146" fmla="*/ 4899318 w 5181602"/>
              <a:gd name="connsiteY146" fmla="*/ 402910 h 6857685"/>
              <a:gd name="connsiteX147" fmla="*/ 4892673 w 5181602"/>
              <a:gd name="connsiteY147" fmla="*/ 391994 h 6857685"/>
              <a:gd name="connsiteX148" fmla="*/ 4875581 w 5181602"/>
              <a:gd name="connsiteY148" fmla="*/ 391057 h 6857685"/>
              <a:gd name="connsiteX149" fmla="*/ 4867999 w 5181602"/>
              <a:gd name="connsiteY149" fmla="*/ 397921 h 6857685"/>
              <a:gd name="connsiteX150" fmla="*/ 4874972 w 5181602"/>
              <a:gd name="connsiteY150" fmla="*/ 404810 h 6857685"/>
              <a:gd name="connsiteX151" fmla="*/ 4879968 w 5181602"/>
              <a:gd name="connsiteY151" fmla="*/ 408179 h 6857685"/>
              <a:gd name="connsiteX152" fmla="*/ 4876266 w 5181602"/>
              <a:gd name="connsiteY152" fmla="*/ 410610 h 6857685"/>
              <a:gd name="connsiteX153" fmla="*/ 4870940 w 5181602"/>
              <a:gd name="connsiteY153" fmla="*/ 407090 h 6857685"/>
              <a:gd name="connsiteX154" fmla="*/ 4867035 w 5181602"/>
              <a:gd name="connsiteY154" fmla="*/ 409369 h 6857685"/>
              <a:gd name="connsiteX155" fmla="*/ 4876114 w 5181602"/>
              <a:gd name="connsiteY155" fmla="*/ 415068 h 6857685"/>
              <a:gd name="connsiteX156" fmla="*/ 4884508 w 5181602"/>
              <a:gd name="connsiteY156" fmla="*/ 408103 h 6857685"/>
              <a:gd name="connsiteX157" fmla="*/ 4876951 w 5181602"/>
              <a:gd name="connsiteY157" fmla="*/ 401036 h 6857685"/>
              <a:gd name="connsiteX158" fmla="*/ 4872563 w 5181602"/>
              <a:gd name="connsiteY158" fmla="*/ 397794 h 6857685"/>
              <a:gd name="connsiteX159" fmla="*/ 4875606 w 5181602"/>
              <a:gd name="connsiteY159" fmla="*/ 395489 h 6857685"/>
              <a:gd name="connsiteX160" fmla="*/ 4880019 w 5181602"/>
              <a:gd name="connsiteY160" fmla="*/ 398453 h 6857685"/>
              <a:gd name="connsiteX161" fmla="*/ 4883848 w 5181602"/>
              <a:gd name="connsiteY161" fmla="*/ 396249 h 6857685"/>
              <a:gd name="connsiteX162" fmla="*/ 4875581 w 5181602"/>
              <a:gd name="connsiteY162" fmla="*/ 391057 h 6857685"/>
              <a:gd name="connsiteX163" fmla="*/ 4228943 w 5181602"/>
              <a:gd name="connsiteY163" fmla="*/ 352584 h 6857685"/>
              <a:gd name="connsiteX164" fmla="*/ 4228961 w 5181602"/>
              <a:gd name="connsiteY164" fmla="*/ 352610 h 6857685"/>
              <a:gd name="connsiteX165" fmla="*/ 4228943 w 5181602"/>
              <a:gd name="connsiteY165" fmla="*/ 352610 h 6857685"/>
              <a:gd name="connsiteX166" fmla="*/ 4706054 w 5181602"/>
              <a:gd name="connsiteY166" fmla="*/ 291036 h 6857685"/>
              <a:gd name="connsiteX167" fmla="*/ 4737652 w 5181602"/>
              <a:gd name="connsiteY167" fmla="*/ 303574 h 6857685"/>
              <a:gd name="connsiteX168" fmla="*/ 4750205 w 5181602"/>
              <a:gd name="connsiteY168" fmla="*/ 335766 h 6857685"/>
              <a:gd name="connsiteX169" fmla="*/ 4737652 w 5181602"/>
              <a:gd name="connsiteY169" fmla="*/ 367958 h 6857685"/>
              <a:gd name="connsiteX170" fmla="*/ 4706054 w 5181602"/>
              <a:gd name="connsiteY170" fmla="*/ 380495 h 6857685"/>
              <a:gd name="connsiteX171" fmla="*/ 4674609 w 5181602"/>
              <a:gd name="connsiteY171" fmla="*/ 367958 h 6857685"/>
              <a:gd name="connsiteX172" fmla="*/ 4662208 w 5181602"/>
              <a:gd name="connsiteY172" fmla="*/ 335766 h 6857685"/>
              <a:gd name="connsiteX173" fmla="*/ 4674609 w 5181602"/>
              <a:gd name="connsiteY173" fmla="*/ 303574 h 6857685"/>
              <a:gd name="connsiteX174" fmla="*/ 4706054 w 5181602"/>
              <a:gd name="connsiteY174" fmla="*/ 291036 h 6857685"/>
              <a:gd name="connsiteX175" fmla="*/ 4269924 w 5181602"/>
              <a:gd name="connsiteY175" fmla="*/ 288808 h 6857685"/>
              <a:gd name="connsiteX176" fmla="*/ 4294852 w 5181602"/>
              <a:gd name="connsiteY176" fmla="*/ 296736 h 6857685"/>
              <a:gd name="connsiteX177" fmla="*/ 4309307 w 5181602"/>
              <a:gd name="connsiteY177" fmla="*/ 320848 h 6857685"/>
              <a:gd name="connsiteX178" fmla="*/ 4228309 w 5181602"/>
              <a:gd name="connsiteY178" fmla="*/ 320848 h 6857685"/>
              <a:gd name="connsiteX179" fmla="*/ 4242612 w 5181602"/>
              <a:gd name="connsiteY179" fmla="*/ 297217 h 6857685"/>
              <a:gd name="connsiteX180" fmla="*/ 4269924 w 5181602"/>
              <a:gd name="connsiteY180" fmla="*/ 288808 h 6857685"/>
              <a:gd name="connsiteX181" fmla="*/ 4407169 w 5181602"/>
              <a:gd name="connsiteY181" fmla="*/ 283686 h 6857685"/>
              <a:gd name="connsiteX182" fmla="*/ 4407169 w 5181602"/>
              <a:gd name="connsiteY182" fmla="*/ 283717 h 6857685"/>
              <a:gd name="connsiteX183" fmla="*/ 4407143 w 5181602"/>
              <a:gd name="connsiteY183" fmla="*/ 283717 h 6857685"/>
              <a:gd name="connsiteX184" fmla="*/ 4461463 w 5181602"/>
              <a:gd name="connsiteY184" fmla="*/ 256439 h 6857685"/>
              <a:gd name="connsiteX185" fmla="*/ 4521818 w 5181602"/>
              <a:gd name="connsiteY185" fmla="*/ 415068 h 6857685"/>
              <a:gd name="connsiteX186" fmla="*/ 4568530 w 5181602"/>
              <a:gd name="connsiteY186" fmla="*/ 415068 h 6857685"/>
              <a:gd name="connsiteX187" fmla="*/ 4628886 w 5181602"/>
              <a:gd name="connsiteY187" fmla="*/ 256439 h 6857685"/>
              <a:gd name="connsiteX188" fmla="*/ 4583771 w 5181602"/>
              <a:gd name="connsiteY188" fmla="*/ 256439 h 6857685"/>
              <a:gd name="connsiteX189" fmla="*/ 4545022 w 5181602"/>
              <a:gd name="connsiteY189" fmla="*/ 367477 h 6857685"/>
              <a:gd name="connsiteX190" fmla="*/ 4506577 w 5181602"/>
              <a:gd name="connsiteY190" fmla="*/ 256439 h 6857685"/>
              <a:gd name="connsiteX191" fmla="*/ 4455428 w 5181602"/>
              <a:gd name="connsiteY191" fmla="*/ 256413 h 6857685"/>
              <a:gd name="connsiteX192" fmla="*/ 4426036 w 5181602"/>
              <a:gd name="connsiteY192" fmla="*/ 260871 h 6857685"/>
              <a:gd name="connsiteX193" fmla="*/ 4407169 w 5181602"/>
              <a:gd name="connsiteY193" fmla="*/ 283686 h 6857685"/>
              <a:gd name="connsiteX194" fmla="*/ 4407169 w 5181602"/>
              <a:gd name="connsiteY194" fmla="*/ 256438 h 6857685"/>
              <a:gd name="connsiteX195" fmla="*/ 4366188 w 5181602"/>
              <a:gd name="connsiteY195" fmla="*/ 256438 h 6857685"/>
              <a:gd name="connsiteX196" fmla="*/ 4366188 w 5181602"/>
              <a:gd name="connsiteY196" fmla="*/ 415068 h 6857685"/>
              <a:gd name="connsiteX197" fmla="*/ 4407169 w 5181602"/>
              <a:gd name="connsiteY197" fmla="*/ 415068 h 6857685"/>
              <a:gd name="connsiteX198" fmla="*/ 4407169 w 5181602"/>
              <a:gd name="connsiteY198" fmla="*/ 339236 h 6857685"/>
              <a:gd name="connsiteX199" fmla="*/ 4421928 w 5181602"/>
              <a:gd name="connsiteY199" fmla="*/ 306563 h 6857685"/>
              <a:gd name="connsiteX200" fmla="*/ 4455428 w 5181602"/>
              <a:gd name="connsiteY200" fmla="*/ 298939 h 6857685"/>
              <a:gd name="connsiteX201" fmla="*/ 4269898 w 5181602"/>
              <a:gd name="connsiteY201" fmla="*/ 252032 h 6857685"/>
              <a:gd name="connsiteX202" fmla="*/ 4209543 w 5181602"/>
              <a:gd name="connsiteY202" fmla="*/ 275992 h 6857685"/>
              <a:gd name="connsiteX203" fmla="*/ 4186035 w 5181602"/>
              <a:gd name="connsiteY203" fmla="*/ 335792 h 6857685"/>
              <a:gd name="connsiteX204" fmla="*/ 4209873 w 5181602"/>
              <a:gd name="connsiteY204" fmla="*/ 395743 h 6857685"/>
              <a:gd name="connsiteX205" fmla="*/ 4273094 w 5181602"/>
              <a:gd name="connsiteY205" fmla="*/ 419526 h 6857685"/>
              <a:gd name="connsiteX206" fmla="*/ 4342350 w 5181602"/>
              <a:gd name="connsiteY206" fmla="*/ 385587 h 6857685"/>
              <a:gd name="connsiteX207" fmla="*/ 4309307 w 5181602"/>
              <a:gd name="connsiteY207" fmla="*/ 366540 h 6857685"/>
              <a:gd name="connsiteX208" fmla="*/ 4273728 w 5181602"/>
              <a:gd name="connsiteY208" fmla="*/ 382395 h 6857685"/>
              <a:gd name="connsiteX209" fmla="*/ 4244270 w 5181602"/>
              <a:gd name="connsiteY209" fmla="*/ 374946 h 6857685"/>
              <a:gd name="connsiteX210" fmla="*/ 4228961 w 5181602"/>
              <a:gd name="connsiteY210" fmla="*/ 352610 h 6857685"/>
              <a:gd name="connsiteX211" fmla="*/ 4348690 w 5181602"/>
              <a:gd name="connsiteY211" fmla="*/ 352610 h 6857685"/>
              <a:gd name="connsiteX212" fmla="*/ 4350288 w 5181602"/>
              <a:gd name="connsiteY212" fmla="*/ 335792 h 6857685"/>
              <a:gd name="connsiteX213" fmla="*/ 4327566 w 5181602"/>
              <a:gd name="connsiteY213" fmla="*/ 276144 h 6857685"/>
              <a:gd name="connsiteX214" fmla="*/ 4269898 w 5181602"/>
              <a:gd name="connsiteY214" fmla="*/ 252032 h 6857685"/>
              <a:gd name="connsiteX215" fmla="*/ 4698421 w 5181602"/>
              <a:gd name="connsiteY215" fmla="*/ 252006 h 6857685"/>
              <a:gd name="connsiteX216" fmla="*/ 4643949 w 5181602"/>
              <a:gd name="connsiteY216" fmla="*/ 276270 h 6857685"/>
              <a:gd name="connsiteX217" fmla="*/ 4621227 w 5181602"/>
              <a:gd name="connsiteY217" fmla="*/ 335740 h 6857685"/>
              <a:gd name="connsiteX218" fmla="*/ 4643949 w 5181602"/>
              <a:gd name="connsiteY218" fmla="*/ 395236 h 6857685"/>
              <a:gd name="connsiteX219" fmla="*/ 4698421 w 5181602"/>
              <a:gd name="connsiteY219" fmla="*/ 419500 h 6857685"/>
              <a:gd name="connsiteX220" fmla="*/ 4750205 w 5181602"/>
              <a:gd name="connsiteY220" fmla="*/ 396350 h 6857685"/>
              <a:gd name="connsiteX221" fmla="*/ 4750205 w 5181602"/>
              <a:gd name="connsiteY221" fmla="*/ 415068 h 6857685"/>
              <a:gd name="connsiteX222" fmla="*/ 4791185 w 5181602"/>
              <a:gd name="connsiteY222" fmla="*/ 415068 h 6857685"/>
              <a:gd name="connsiteX223" fmla="*/ 4791185 w 5181602"/>
              <a:gd name="connsiteY223" fmla="*/ 256438 h 6857685"/>
              <a:gd name="connsiteX224" fmla="*/ 4750205 w 5181602"/>
              <a:gd name="connsiteY224" fmla="*/ 256438 h 6857685"/>
              <a:gd name="connsiteX225" fmla="*/ 4750205 w 5181602"/>
              <a:gd name="connsiteY225" fmla="*/ 275181 h 6857685"/>
              <a:gd name="connsiteX226" fmla="*/ 4698421 w 5181602"/>
              <a:gd name="connsiteY226" fmla="*/ 252006 h 6857685"/>
              <a:gd name="connsiteX227" fmla="*/ 4003422 w 5181602"/>
              <a:gd name="connsiteY227" fmla="*/ 252006 h 6857685"/>
              <a:gd name="connsiteX228" fmla="*/ 3956076 w 5181602"/>
              <a:gd name="connsiteY228" fmla="*/ 274193 h 6857685"/>
              <a:gd name="connsiteX229" fmla="*/ 3956076 w 5181602"/>
              <a:gd name="connsiteY229" fmla="*/ 256438 h 6857685"/>
              <a:gd name="connsiteX230" fmla="*/ 3915095 w 5181602"/>
              <a:gd name="connsiteY230" fmla="*/ 256438 h 6857685"/>
              <a:gd name="connsiteX231" fmla="*/ 3915095 w 5181602"/>
              <a:gd name="connsiteY231" fmla="*/ 415093 h 6857685"/>
              <a:gd name="connsiteX232" fmla="*/ 3956076 w 5181602"/>
              <a:gd name="connsiteY232" fmla="*/ 415093 h 6857685"/>
              <a:gd name="connsiteX233" fmla="*/ 3956076 w 5181602"/>
              <a:gd name="connsiteY233" fmla="*/ 329434 h 6857685"/>
              <a:gd name="connsiteX234" fmla="*/ 3965611 w 5181602"/>
              <a:gd name="connsiteY234" fmla="*/ 299927 h 6857685"/>
              <a:gd name="connsiteX235" fmla="*/ 3991021 w 5181602"/>
              <a:gd name="connsiteY235" fmla="*/ 290099 h 6857685"/>
              <a:gd name="connsiteX236" fmla="*/ 4013895 w 5181602"/>
              <a:gd name="connsiteY236" fmla="*/ 298508 h 6857685"/>
              <a:gd name="connsiteX237" fmla="*/ 4022467 w 5181602"/>
              <a:gd name="connsiteY237" fmla="*/ 322772 h 6857685"/>
              <a:gd name="connsiteX238" fmla="*/ 4022467 w 5181602"/>
              <a:gd name="connsiteY238" fmla="*/ 415093 h 6857685"/>
              <a:gd name="connsiteX239" fmla="*/ 4063447 w 5181602"/>
              <a:gd name="connsiteY239" fmla="*/ 415093 h 6857685"/>
              <a:gd name="connsiteX240" fmla="*/ 4063447 w 5181602"/>
              <a:gd name="connsiteY240" fmla="*/ 317682 h 6857685"/>
              <a:gd name="connsiteX241" fmla="*/ 4046457 w 5181602"/>
              <a:gd name="connsiteY241" fmla="*/ 269457 h 6857685"/>
              <a:gd name="connsiteX242" fmla="*/ 4003422 w 5181602"/>
              <a:gd name="connsiteY242" fmla="*/ 252006 h 6857685"/>
              <a:gd name="connsiteX243" fmla="*/ 3844596 w 5181602"/>
              <a:gd name="connsiteY243" fmla="*/ 213052 h 6857685"/>
              <a:gd name="connsiteX244" fmla="*/ 3888442 w 5181602"/>
              <a:gd name="connsiteY244" fmla="*/ 256844 h 6857685"/>
              <a:gd name="connsiteX245" fmla="*/ 3844596 w 5181602"/>
              <a:gd name="connsiteY245" fmla="*/ 256844 h 6857685"/>
              <a:gd name="connsiteX246" fmla="*/ 3844596 w 5181602"/>
              <a:gd name="connsiteY246" fmla="*/ 414815 h 6857685"/>
              <a:gd name="connsiteX247" fmla="*/ 3888442 w 5181602"/>
              <a:gd name="connsiteY247" fmla="*/ 414815 h 6857685"/>
              <a:gd name="connsiteX248" fmla="*/ 3888442 w 5181602"/>
              <a:gd name="connsiteY248" fmla="*/ 256844 h 6857685"/>
              <a:gd name="connsiteX249" fmla="*/ 3888442 w 5181602"/>
              <a:gd name="connsiteY249" fmla="*/ 213052 h 6857685"/>
              <a:gd name="connsiteX250" fmla="*/ 4815657 w 5181602"/>
              <a:gd name="connsiteY250" fmla="*/ 212672 h 6857685"/>
              <a:gd name="connsiteX251" fmla="*/ 4815657 w 5181602"/>
              <a:gd name="connsiteY251" fmla="*/ 415094 h 6857685"/>
              <a:gd name="connsiteX252" fmla="*/ 4856638 w 5181602"/>
              <a:gd name="connsiteY252" fmla="*/ 415094 h 6857685"/>
              <a:gd name="connsiteX253" fmla="*/ 4856638 w 5181602"/>
              <a:gd name="connsiteY253" fmla="*/ 212672 h 6857685"/>
              <a:gd name="connsiteX254" fmla="*/ 4096821 w 5181602"/>
              <a:gd name="connsiteY254" fmla="*/ 212672 h 6857685"/>
              <a:gd name="connsiteX255" fmla="*/ 4109653 w 5181602"/>
              <a:gd name="connsiteY255" fmla="*/ 243620 h 6857685"/>
              <a:gd name="connsiteX256" fmla="*/ 4140607 w 5181602"/>
              <a:gd name="connsiteY256" fmla="*/ 256439 h 6857685"/>
              <a:gd name="connsiteX257" fmla="*/ 4099661 w 5181602"/>
              <a:gd name="connsiteY257" fmla="*/ 256439 h 6857685"/>
              <a:gd name="connsiteX258" fmla="*/ 4072019 w 5181602"/>
              <a:gd name="connsiteY258" fmla="*/ 256439 h 6857685"/>
              <a:gd name="connsiteX259" fmla="*/ 4072019 w 5181602"/>
              <a:gd name="connsiteY259" fmla="*/ 295799 h 6857685"/>
              <a:gd name="connsiteX260" fmla="*/ 4099661 w 5181602"/>
              <a:gd name="connsiteY260" fmla="*/ 295799 h 6857685"/>
              <a:gd name="connsiteX261" fmla="*/ 4099661 w 5181602"/>
              <a:gd name="connsiteY261" fmla="*/ 361778 h 6857685"/>
              <a:gd name="connsiteX262" fmla="*/ 4116981 w 5181602"/>
              <a:gd name="connsiteY262" fmla="*/ 407141 h 6857685"/>
              <a:gd name="connsiteX263" fmla="*/ 4176550 w 5181602"/>
              <a:gd name="connsiteY263" fmla="*/ 415068 h 6857685"/>
              <a:gd name="connsiteX264" fmla="*/ 4176550 w 5181602"/>
              <a:gd name="connsiteY264" fmla="*/ 377938 h 6857685"/>
              <a:gd name="connsiteX265" fmla="*/ 4156846 w 5181602"/>
              <a:gd name="connsiteY265" fmla="*/ 378089 h 6857685"/>
              <a:gd name="connsiteX266" fmla="*/ 4144775 w 5181602"/>
              <a:gd name="connsiteY266" fmla="*/ 373809 h 6857685"/>
              <a:gd name="connsiteX267" fmla="*/ 4140641 w 5181602"/>
              <a:gd name="connsiteY267" fmla="*/ 361753 h 6857685"/>
              <a:gd name="connsiteX268" fmla="*/ 4140641 w 5181602"/>
              <a:gd name="connsiteY268" fmla="*/ 295773 h 6857685"/>
              <a:gd name="connsiteX269" fmla="*/ 4176550 w 5181602"/>
              <a:gd name="connsiteY269" fmla="*/ 295773 h 6857685"/>
              <a:gd name="connsiteX270" fmla="*/ 4176550 w 5181602"/>
              <a:gd name="connsiteY270" fmla="*/ 256439 h 6857685"/>
              <a:gd name="connsiteX271" fmla="*/ 4140667 w 5181602"/>
              <a:gd name="connsiteY271" fmla="*/ 256439 h 6857685"/>
              <a:gd name="connsiteX272" fmla="*/ 4140667 w 5181602"/>
              <a:gd name="connsiteY272" fmla="*/ 212672 h 6857685"/>
              <a:gd name="connsiteX273" fmla="*/ 0 w 5181602"/>
              <a:gd name="connsiteY273" fmla="*/ 0 h 6857685"/>
              <a:gd name="connsiteX274" fmla="*/ 5181602 w 5181602"/>
              <a:gd name="connsiteY274" fmla="*/ 0 h 6857685"/>
              <a:gd name="connsiteX275" fmla="*/ 5181602 w 5181602"/>
              <a:gd name="connsiteY275" fmla="*/ 5184339 h 6857685"/>
              <a:gd name="connsiteX276" fmla="*/ 0 w 5181602"/>
              <a:gd name="connsiteY276" fmla="*/ 0 h 6857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Lst>
            <a:rect l="l" t="t" r="r" b="b"/>
            <a:pathLst>
              <a:path w="5181602" h="6857685">
                <a:moveTo>
                  <a:pt x="0" y="5184339"/>
                </a:moveTo>
                <a:lnTo>
                  <a:pt x="5181602" y="5184339"/>
                </a:lnTo>
                <a:lnTo>
                  <a:pt x="5181602" y="6857685"/>
                </a:lnTo>
                <a:lnTo>
                  <a:pt x="0" y="6857685"/>
                </a:lnTo>
                <a:close/>
                <a:moveTo>
                  <a:pt x="4650365" y="505489"/>
                </a:moveTo>
                <a:lnTo>
                  <a:pt x="4658734" y="530842"/>
                </a:lnTo>
                <a:lnTo>
                  <a:pt x="4641996" y="530842"/>
                </a:lnTo>
                <a:close/>
                <a:moveTo>
                  <a:pt x="4372046" y="505489"/>
                </a:moveTo>
                <a:lnTo>
                  <a:pt x="4380415" y="530842"/>
                </a:lnTo>
                <a:lnTo>
                  <a:pt x="4363677" y="530842"/>
                </a:lnTo>
                <a:close/>
                <a:moveTo>
                  <a:pt x="4237870" y="502804"/>
                </a:moveTo>
                <a:lnTo>
                  <a:pt x="4250270" y="502804"/>
                </a:lnTo>
                <a:cubicBezTo>
                  <a:pt x="4252527" y="502804"/>
                  <a:pt x="4254480" y="503690"/>
                  <a:pt x="4256103" y="505463"/>
                </a:cubicBezTo>
                <a:cubicBezTo>
                  <a:pt x="4257726" y="507236"/>
                  <a:pt x="4258538" y="509389"/>
                  <a:pt x="4258538" y="511947"/>
                </a:cubicBezTo>
                <a:cubicBezTo>
                  <a:pt x="4258538" y="514505"/>
                  <a:pt x="4257726" y="516658"/>
                  <a:pt x="4256103" y="518457"/>
                </a:cubicBezTo>
                <a:cubicBezTo>
                  <a:pt x="4254480" y="520255"/>
                  <a:pt x="4252527" y="521167"/>
                  <a:pt x="4250270" y="521167"/>
                </a:cubicBezTo>
                <a:lnTo>
                  <a:pt x="4237870" y="521167"/>
                </a:lnTo>
                <a:close/>
                <a:moveTo>
                  <a:pt x="4517507" y="502019"/>
                </a:moveTo>
                <a:cubicBezTo>
                  <a:pt x="4523086" y="502019"/>
                  <a:pt x="4527777" y="503944"/>
                  <a:pt x="4531556" y="507794"/>
                </a:cubicBezTo>
                <a:cubicBezTo>
                  <a:pt x="4535334" y="511644"/>
                  <a:pt x="4537236" y="516506"/>
                  <a:pt x="4537236" y="522408"/>
                </a:cubicBezTo>
                <a:cubicBezTo>
                  <a:pt x="4537211" y="528335"/>
                  <a:pt x="4535334" y="533172"/>
                  <a:pt x="4531556" y="536997"/>
                </a:cubicBezTo>
                <a:cubicBezTo>
                  <a:pt x="4527777" y="540821"/>
                  <a:pt x="4523086" y="542721"/>
                  <a:pt x="4517507" y="542721"/>
                </a:cubicBezTo>
                <a:cubicBezTo>
                  <a:pt x="4511928" y="542721"/>
                  <a:pt x="4507236" y="540821"/>
                  <a:pt x="4503458" y="536997"/>
                </a:cubicBezTo>
                <a:cubicBezTo>
                  <a:pt x="4499679" y="533172"/>
                  <a:pt x="4497777" y="528335"/>
                  <a:pt x="4497777" y="522408"/>
                </a:cubicBezTo>
                <a:cubicBezTo>
                  <a:pt x="4497777" y="516506"/>
                  <a:pt x="4499679" y="511618"/>
                  <a:pt x="4503458" y="507794"/>
                </a:cubicBezTo>
                <a:cubicBezTo>
                  <a:pt x="4507236" y="503944"/>
                  <a:pt x="4511928" y="502019"/>
                  <a:pt x="4517507" y="502019"/>
                </a:cubicBezTo>
                <a:close/>
                <a:moveTo>
                  <a:pt x="4690432" y="491381"/>
                </a:moveTo>
                <a:lnTo>
                  <a:pt x="4690432" y="553435"/>
                </a:lnTo>
                <a:lnTo>
                  <a:pt x="4725758" y="553435"/>
                </a:lnTo>
                <a:lnTo>
                  <a:pt x="4725758" y="541733"/>
                </a:lnTo>
                <a:lnTo>
                  <a:pt x="4702478" y="541733"/>
                </a:lnTo>
                <a:lnTo>
                  <a:pt x="4702478" y="491381"/>
                </a:lnTo>
                <a:close/>
                <a:moveTo>
                  <a:pt x="4642884" y="491381"/>
                </a:moveTo>
                <a:lnTo>
                  <a:pt x="4621506" y="553435"/>
                </a:lnTo>
                <a:lnTo>
                  <a:pt x="4634515" y="553435"/>
                </a:lnTo>
                <a:lnTo>
                  <a:pt x="4638167" y="542265"/>
                </a:lnTo>
                <a:lnTo>
                  <a:pt x="4662512" y="542265"/>
                </a:lnTo>
                <a:lnTo>
                  <a:pt x="4666189" y="553435"/>
                </a:lnTo>
                <a:lnTo>
                  <a:pt x="4679275" y="553435"/>
                </a:lnTo>
                <a:lnTo>
                  <a:pt x="4657821" y="491381"/>
                </a:lnTo>
                <a:close/>
                <a:moveTo>
                  <a:pt x="4562951" y="491381"/>
                </a:moveTo>
                <a:lnTo>
                  <a:pt x="4562951" y="553435"/>
                </a:lnTo>
                <a:lnTo>
                  <a:pt x="4574997" y="553435"/>
                </a:lnTo>
                <a:lnTo>
                  <a:pt x="4574997" y="515493"/>
                </a:lnTo>
                <a:lnTo>
                  <a:pt x="4601167" y="553435"/>
                </a:lnTo>
                <a:lnTo>
                  <a:pt x="4610348" y="553435"/>
                </a:lnTo>
                <a:lnTo>
                  <a:pt x="4610348" y="491381"/>
                </a:lnTo>
                <a:lnTo>
                  <a:pt x="4598302" y="491381"/>
                </a:lnTo>
                <a:lnTo>
                  <a:pt x="4598302" y="529246"/>
                </a:lnTo>
                <a:lnTo>
                  <a:pt x="4572131" y="491381"/>
                </a:lnTo>
                <a:close/>
                <a:moveTo>
                  <a:pt x="4460017" y="491381"/>
                </a:moveTo>
                <a:lnTo>
                  <a:pt x="4460017" y="553435"/>
                </a:lnTo>
                <a:lnTo>
                  <a:pt x="4472063" y="553435"/>
                </a:lnTo>
                <a:lnTo>
                  <a:pt x="4472063" y="491381"/>
                </a:lnTo>
                <a:close/>
                <a:moveTo>
                  <a:pt x="4403111" y="491381"/>
                </a:moveTo>
                <a:lnTo>
                  <a:pt x="4403111" y="503083"/>
                </a:lnTo>
                <a:lnTo>
                  <a:pt x="4419518" y="503083"/>
                </a:lnTo>
                <a:lnTo>
                  <a:pt x="4419518" y="553435"/>
                </a:lnTo>
                <a:lnTo>
                  <a:pt x="4431564" y="553435"/>
                </a:lnTo>
                <a:lnTo>
                  <a:pt x="4431564" y="503083"/>
                </a:lnTo>
                <a:lnTo>
                  <a:pt x="4448048" y="503083"/>
                </a:lnTo>
                <a:lnTo>
                  <a:pt x="4448048" y="491381"/>
                </a:lnTo>
                <a:close/>
                <a:moveTo>
                  <a:pt x="4364565" y="491381"/>
                </a:moveTo>
                <a:lnTo>
                  <a:pt x="4343187" y="553435"/>
                </a:lnTo>
                <a:lnTo>
                  <a:pt x="4356196" y="553435"/>
                </a:lnTo>
                <a:lnTo>
                  <a:pt x="4359873" y="542265"/>
                </a:lnTo>
                <a:lnTo>
                  <a:pt x="4384218" y="542265"/>
                </a:lnTo>
                <a:lnTo>
                  <a:pt x="4387870" y="553435"/>
                </a:lnTo>
                <a:lnTo>
                  <a:pt x="4400956" y="553435"/>
                </a:lnTo>
                <a:lnTo>
                  <a:pt x="4379502" y="491381"/>
                </a:lnTo>
                <a:close/>
                <a:moveTo>
                  <a:pt x="4284632" y="491381"/>
                </a:moveTo>
                <a:lnTo>
                  <a:pt x="4284632" y="553435"/>
                </a:lnTo>
                <a:lnTo>
                  <a:pt x="4296678" y="553435"/>
                </a:lnTo>
                <a:lnTo>
                  <a:pt x="4296678" y="515493"/>
                </a:lnTo>
                <a:lnTo>
                  <a:pt x="4322848" y="553435"/>
                </a:lnTo>
                <a:lnTo>
                  <a:pt x="4332003" y="553435"/>
                </a:lnTo>
                <a:lnTo>
                  <a:pt x="4332003" y="491381"/>
                </a:lnTo>
                <a:lnTo>
                  <a:pt x="4319983" y="491381"/>
                </a:lnTo>
                <a:lnTo>
                  <a:pt x="4319983" y="529246"/>
                </a:lnTo>
                <a:lnTo>
                  <a:pt x="4293787" y="491381"/>
                </a:lnTo>
                <a:close/>
                <a:moveTo>
                  <a:pt x="4225824" y="491381"/>
                </a:moveTo>
                <a:lnTo>
                  <a:pt x="4225824" y="553435"/>
                </a:lnTo>
                <a:lnTo>
                  <a:pt x="4237870" y="553435"/>
                </a:lnTo>
                <a:lnTo>
                  <a:pt x="4237870" y="531906"/>
                </a:lnTo>
                <a:lnTo>
                  <a:pt x="4247024" y="531906"/>
                </a:lnTo>
                <a:lnTo>
                  <a:pt x="4259324" y="553435"/>
                </a:lnTo>
                <a:lnTo>
                  <a:pt x="4272333" y="553435"/>
                </a:lnTo>
                <a:lnTo>
                  <a:pt x="4258817" y="530032"/>
                </a:lnTo>
                <a:cubicBezTo>
                  <a:pt x="4262367" y="528385"/>
                  <a:pt x="4265207" y="525903"/>
                  <a:pt x="4267363" y="522636"/>
                </a:cubicBezTo>
                <a:cubicBezTo>
                  <a:pt x="4269518" y="519343"/>
                  <a:pt x="4270583" y="515797"/>
                  <a:pt x="4270583" y="511947"/>
                </a:cubicBezTo>
                <a:cubicBezTo>
                  <a:pt x="4270583" y="506274"/>
                  <a:pt x="4268605" y="501436"/>
                  <a:pt x="4264649" y="497409"/>
                </a:cubicBezTo>
                <a:cubicBezTo>
                  <a:pt x="4260693" y="493382"/>
                  <a:pt x="4255900" y="491381"/>
                  <a:pt x="4250245" y="491381"/>
                </a:cubicBezTo>
                <a:close/>
                <a:moveTo>
                  <a:pt x="4174344" y="491381"/>
                </a:moveTo>
                <a:lnTo>
                  <a:pt x="4174344" y="553435"/>
                </a:lnTo>
                <a:lnTo>
                  <a:pt x="4212129" y="553435"/>
                </a:lnTo>
                <a:lnTo>
                  <a:pt x="4212129" y="541733"/>
                </a:lnTo>
                <a:lnTo>
                  <a:pt x="4186390" y="541733"/>
                </a:lnTo>
                <a:lnTo>
                  <a:pt x="4186390" y="527828"/>
                </a:lnTo>
                <a:lnTo>
                  <a:pt x="4209517" y="527828"/>
                </a:lnTo>
                <a:lnTo>
                  <a:pt x="4209517" y="516304"/>
                </a:lnTo>
                <a:lnTo>
                  <a:pt x="4186390" y="516304"/>
                </a:lnTo>
                <a:lnTo>
                  <a:pt x="4186390" y="503083"/>
                </a:lnTo>
                <a:lnTo>
                  <a:pt x="4211698" y="503083"/>
                </a:lnTo>
                <a:lnTo>
                  <a:pt x="4211698" y="491381"/>
                </a:lnTo>
                <a:close/>
                <a:moveTo>
                  <a:pt x="4117463" y="491381"/>
                </a:moveTo>
                <a:lnTo>
                  <a:pt x="4117463" y="503083"/>
                </a:lnTo>
                <a:lnTo>
                  <a:pt x="4133871" y="503083"/>
                </a:lnTo>
                <a:lnTo>
                  <a:pt x="4133871" y="553435"/>
                </a:lnTo>
                <a:lnTo>
                  <a:pt x="4145916" y="553435"/>
                </a:lnTo>
                <a:lnTo>
                  <a:pt x="4145916" y="503083"/>
                </a:lnTo>
                <a:lnTo>
                  <a:pt x="4162400" y="503083"/>
                </a:lnTo>
                <a:lnTo>
                  <a:pt x="4162400" y="491381"/>
                </a:lnTo>
                <a:close/>
                <a:moveTo>
                  <a:pt x="4058046" y="491381"/>
                </a:moveTo>
                <a:lnTo>
                  <a:pt x="4058046" y="553435"/>
                </a:lnTo>
                <a:lnTo>
                  <a:pt x="4070092" y="553435"/>
                </a:lnTo>
                <a:lnTo>
                  <a:pt x="4070092" y="515493"/>
                </a:lnTo>
                <a:lnTo>
                  <a:pt x="4096263" y="553435"/>
                </a:lnTo>
                <a:lnTo>
                  <a:pt x="4105417" y="553435"/>
                </a:lnTo>
                <a:lnTo>
                  <a:pt x="4105417" y="491381"/>
                </a:lnTo>
                <a:lnTo>
                  <a:pt x="4093372" y="491381"/>
                </a:lnTo>
                <a:lnTo>
                  <a:pt x="4093372" y="529246"/>
                </a:lnTo>
                <a:lnTo>
                  <a:pt x="4067201" y="491381"/>
                </a:lnTo>
                <a:close/>
                <a:moveTo>
                  <a:pt x="4029441" y="491381"/>
                </a:moveTo>
                <a:lnTo>
                  <a:pt x="4029441" y="553435"/>
                </a:lnTo>
                <a:lnTo>
                  <a:pt x="4041487" y="553435"/>
                </a:lnTo>
                <a:lnTo>
                  <a:pt x="4041487" y="491381"/>
                </a:lnTo>
                <a:close/>
                <a:moveTo>
                  <a:pt x="4517507" y="490140"/>
                </a:moveTo>
                <a:cubicBezTo>
                  <a:pt x="4508656" y="490140"/>
                  <a:pt x="4501175" y="493255"/>
                  <a:pt x="4495038" y="499486"/>
                </a:cubicBezTo>
                <a:cubicBezTo>
                  <a:pt x="4488901" y="505717"/>
                  <a:pt x="4485833" y="513366"/>
                  <a:pt x="4485833" y="522408"/>
                </a:cubicBezTo>
                <a:cubicBezTo>
                  <a:pt x="4485833" y="531450"/>
                  <a:pt x="4488901" y="539099"/>
                  <a:pt x="4495038" y="545330"/>
                </a:cubicBezTo>
                <a:cubicBezTo>
                  <a:pt x="4501175" y="551560"/>
                  <a:pt x="4508656" y="554676"/>
                  <a:pt x="4517507" y="554676"/>
                </a:cubicBezTo>
                <a:cubicBezTo>
                  <a:pt x="4526332" y="554676"/>
                  <a:pt x="4533838" y="551560"/>
                  <a:pt x="4540026" y="545330"/>
                </a:cubicBezTo>
                <a:cubicBezTo>
                  <a:pt x="4546188" y="539099"/>
                  <a:pt x="4549282" y="531450"/>
                  <a:pt x="4549282" y="522408"/>
                </a:cubicBezTo>
                <a:cubicBezTo>
                  <a:pt x="4549282" y="513366"/>
                  <a:pt x="4546188" y="505742"/>
                  <a:pt x="4540026" y="499486"/>
                </a:cubicBezTo>
                <a:cubicBezTo>
                  <a:pt x="4533838" y="493255"/>
                  <a:pt x="4526332" y="490140"/>
                  <a:pt x="4517507" y="490140"/>
                </a:cubicBezTo>
                <a:close/>
                <a:moveTo>
                  <a:pt x="4887982" y="391994"/>
                </a:moveTo>
                <a:lnTo>
                  <a:pt x="4887982" y="415068"/>
                </a:lnTo>
                <a:lnTo>
                  <a:pt x="4892547" y="415068"/>
                </a:lnTo>
                <a:lnTo>
                  <a:pt x="4892547" y="400124"/>
                </a:lnTo>
                <a:lnTo>
                  <a:pt x="4899039" y="410813"/>
                </a:lnTo>
                <a:lnTo>
                  <a:pt x="4899571" y="410813"/>
                </a:lnTo>
                <a:lnTo>
                  <a:pt x="4906088" y="400099"/>
                </a:lnTo>
                <a:lnTo>
                  <a:pt x="4906088" y="415068"/>
                </a:lnTo>
                <a:lnTo>
                  <a:pt x="4910603" y="415068"/>
                </a:lnTo>
                <a:lnTo>
                  <a:pt x="4910603" y="391994"/>
                </a:lnTo>
                <a:lnTo>
                  <a:pt x="4905911" y="391994"/>
                </a:lnTo>
                <a:lnTo>
                  <a:pt x="4899318" y="402910"/>
                </a:lnTo>
                <a:lnTo>
                  <a:pt x="4892673" y="391994"/>
                </a:lnTo>
                <a:close/>
                <a:moveTo>
                  <a:pt x="4875581" y="391057"/>
                </a:moveTo>
                <a:cubicBezTo>
                  <a:pt x="4871625" y="391057"/>
                  <a:pt x="4867999" y="393564"/>
                  <a:pt x="4867999" y="397921"/>
                </a:cubicBezTo>
                <a:cubicBezTo>
                  <a:pt x="4867999" y="402303"/>
                  <a:pt x="4871422" y="403797"/>
                  <a:pt x="4874972" y="404810"/>
                </a:cubicBezTo>
                <a:cubicBezTo>
                  <a:pt x="4878396" y="405798"/>
                  <a:pt x="4879968" y="406456"/>
                  <a:pt x="4879968" y="408179"/>
                </a:cubicBezTo>
                <a:cubicBezTo>
                  <a:pt x="4879968" y="409470"/>
                  <a:pt x="4879005" y="410610"/>
                  <a:pt x="4876266" y="410610"/>
                </a:cubicBezTo>
                <a:cubicBezTo>
                  <a:pt x="4873400" y="410610"/>
                  <a:pt x="4871777" y="409217"/>
                  <a:pt x="4870940" y="407090"/>
                </a:cubicBezTo>
                <a:lnTo>
                  <a:pt x="4867035" y="409369"/>
                </a:lnTo>
                <a:cubicBezTo>
                  <a:pt x="4868278" y="412814"/>
                  <a:pt x="4871397" y="415068"/>
                  <a:pt x="4876114" y="415068"/>
                </a:cubicBezTo>
                <a:cubicBezTo>
                  <a:pt x="4881033" y="415068"/>
                  <a:pt x="4884508" y="412434"/>
                  <a:pt x="4884508" y="408103"/>
                </a:cubicBezTo>
                <a:cubicBezTo>
                  <a:pt x="4884508" y="403392"/>
                  <a:pt x="4880628" y="402176"/>
                  <a:pt x="4876951" y="401036"/>
                </a:cubicBezTo>
                <a:cubicBezTo>
                  <a:pt x="4873451" y="399972"/>
                  <a:pt x="4872563" y="399213"/>
                  <a:pt x="4872563" y="397794"/>
                </a:cubicBezTo>
                <a:cubicBezTo>
                  <a:pt x="4872563" y="396477"/>
                  <a:pt x="4873679" y="395489"/>
                  <a:pt x="4875606" y="395489"/>
                </a:cubicBezTo>
                <a:cubicBezTo>
                  <a:pt x="4877940" y="395489"/>
                  <a:pt x="4879208" y="396705"/>
                  <a:pt x="4880019" y="398453"/>
                </a:cubicBezTo>
                <a:lnTo>
                  <a:pt x="4883848" y="396249"/>
                </a:lnTo>
                <a:cubicBezTo>
                  <a:pt x="4882301" y="393007"/>
                  <a:pt x="4879385" y="391057"/>
                  <a:pt x="4875581" y="391057"/>
                </a:cubicBezTo>
                <a:close/>
                <a:moveTo>
                  <a:pt x="4228943" y="352584"/>
                </a:moveTo>
                <a:lnTo>
                  <a:pt x="4228961" y="352610"/>
                </a:lnTo>
                <a:lnTo>
                  <a:pt x="4228943" y="352610"/>
                </a:lnTo>
                <a:close/>
                <a:moveTo>
                  <a:pt x="4706054" y="291036"/>
                </a:moveTo>
                <a:cubicBezTo>
                  <a:pt x="4718759" y="291036"/>
                  <a:pt x="4729283" y="295216"/>
                  <a:pt x="4737652" y="303574"/>
                </a:cubicBezTo>
                <a:cubicBezTo>
                  <a:pt x="4746020" y="311932"/>
                  <a:pt x="4750205" y="322646"/>
                  <a:pt x="4750205" y="335766"/>
                </a:cubicBezTo>
                <a:cubicBezTo>
                  <a:pt x="4750205" y="348860"/>
                  <a:pt x="4746020" y="359599"/>
                  <a:pt x="4737652" y="367958"/>
                </a:cubicBezTo>
                <a:cubicBezTo>
                  <a:pt x="4729283" y="376316"/>
                  <a:pt x="4718759" y="380495"/>
                  <a:pt x="4706054" y="380495"/>
                </a:cubicBezTo>
                <a:cubicBezTo>
                  <a:pt x="4693349" y="380495"/>
                  <a:pt x="4682876" y="376316"/>
                  <a:pt x="4674609" y="367958"/>
                </a:cubicBezTo>
                <a:cubicBezTo>
                  <a:pt x="4666367" y="359599"/>
                  <a:pt x="4662233" y="348886"/>
                  <a:pt x="4662208" y="335766"/>
                </a:cubicBezTo>
                <a:cubicBezTo>
                  <a:pt x="4662208" y="322671"/>
                  <a:pt x="4666341" y="311932"/>
                  <a:pt x="4674609" y="303574"/>
                </a:cubicBezTo>
                <a:cubicBezTo>
                  <a:pt x="4682876" y="295216"/>
                  <a:pt x="4693349" y="291036"/>
                  <a:pt x="4706054" y="291036"/>
                </a:cubicBezTo>
                <a:close/>
                <a:moveTo>
                  <a:pt x="4269924" y="288808"/>
                </a:moveTo>
                <a:cubicBezTo>
                  <a:pt x="4279231" y="288808"/>
                  <a:pt x="4287549" y="291442"/>
                  <a:pt x="4294852" y="296736"/>
                </a:cubicBezTo>
                <a:cubicBezTo>
                  <a:pt x="4302155" y="302030"/>
                  <a:pt x="4306974" y="310058"/>
                  <a:pt x="4309307" y="320848"/>
                </a:cubicBezTo>
                <a:lnTo>
                  <a:pt x="4228309" y="320848"/>
                </a:lnTo>
                <a:cubicBezTo>
                  <a:pt x="4230642" y="310692"/>
                  <a:pt x="4235410" y="302815"/>
                  <a:pt x="4242612" y="297217"/>
                </a:cubicBezTo>
                <a:cubicBezTo>
                  <a:pt x="4249814" y="291620"/>
                  <a:pt x="4258918" y="288808"/>
                  <a:pt x="4269924" y="288808"/>
                </a:cubicBezTo>
                <a:close/>
                <a:moveTo>
                  <a:pt x="4407169" y="283686"/>
                </a:moveTo>
                <a:lnTo>
                  <a:pt x="4407169" y="283717"/>
                </a:lnTo>
                <a:lnTo>
                  <a:pt x="4407143" y="283717"/>
                </a:lnTo>
                <a:close/>
                <a:moveTo>
                  <a:pt x="4461463" y="256439"/>
                </a:moveTo>
                <a:lnTo>
                  <a:pt x="4521818" y="415068"/>
                </a:lnTo>
                <a:lnTo>
                  <a:pt x="4568530" y="415068"/>
                </a:lnTo>
                <a:lnTo>
                  <a:pt x="4628886" y="256439"/>
                </a:lnTo>
                <a:lnTo>
                  <a:pt x="4583771" y="256439"/>
                </a:lnTo>
                <a:lnTo>
                  <a:pt x="4545022" y="367477"/>
                </a:lnTo>
                <a:lnTo>
                  <a:pt x="4506577" y="256439"/>
                </a:lnTo>
                <a:close/>
                <a:moveTo>
                  <a:pt x="4455428" y="256413"/>
                </a:moveTo>
                <a:cubicBezTo>
                  <a:pt x="4444625" y="256413"/>
                  <a:pt x="4434836" y="255780"/>
                  <a:pt x="4426036" y="260871"/>
                </a:cubicBezTo>
                <a:lnTo>
                  <a:pt x="4407169" y="283686"/>
                </a:lnTo>
                <a:lnTo>
                  <a:pt x="4407169" y="256438"/>
                </a:lnTo>
                <a:lnTo>
                  <a:pt x="4366188" y="256438"/>
                </a:lnTo>
                <a:lnTo>
                  <a:pt x="4366188" y="415068"/>
                </a:lnTo>
                <a:lnTo>
                  <a:pt x="4407169" y="415068"/>
                </a:lnTo>
                <a:lnTo>
                  <a:pt x="4407169" y="339236"/>
                </a:lnTo>
                <a:cubicBezTo>
                  <a:pt x="4407169" y="324014"/>
                  <a:pt x="4412088" y="313123"/>
                  <a:pt x="4421928" y="306563"/>
                </a:cubicBezTo>
                <a:cubicBezTo>
                  <a:pt x="4431767" y="300003"/>
                  <a:pt x="4442925" y="297470"/>
                  <a:pt x="4455428" y="298939"/>
                </a:cubicBezTo>
                <a:close/>
                <a:moveTo>
                  <a:pt x="4269898" y="252032"/>
                </a:moveTo>
                <a:cubicBezTo>
                  <a:pt x="4245325" y="252032"/>
                  <a:pt x="4225215" y="260036"/>
                  <a:pt x="4209543" y="275992"/>
                </a:cubicBezTo>
                <a:cubicBezTo>
                  <a:pt x="4193871" y="291949"/>
                  <a:pt x="4186035" y="311882"/>
                  <a:pt x="4186035" y="335792"/>
                </a:cubicBezTo>
                <a:cubicBezTo>
                  <a:pt x="4186035" y="359904"/>
                  <a:pt x="4193998" y="379888"/>
                  <a:pt x="4209873" y="395743"/>
                </a:cubicBezTo>
                <a:cubicBezTo>
                  <a:pt x="4225773" y="411599"/>
                  <a:pt x="4246821" y="419526"/>
                  <a:pt x="4273094" y="419526"/>
                </a:cubicBezTo>
                <a:cubicBezTo>
                  <a:pt x="4303601" y="419526"/>
                  <a:pt x="4326678" y="408230"/>
                  <a:pt x="4342350" y="385587"/>
                </a:cubicBezTo>
                <a:lnTo>
                  <a:pt x="4309307" y="366540"/>
                </a:lnTo>
                <a:cubicBezTo>
                  <a:pt x="4301268" y="377102"/>
                  <a:pt x="4289400" y="382395"/>
                  <a:pt x="4273728" y="382395"/>
                </a:cubicBezTo>
                <a:cubicBezTo>
                  <a:pt x="4261556" y="382395"/>
                  <a:pt x="4251735" y="379913"/>
                  <a:pt x="4244270" y="374946"/>
                </a:cubicBezTo>
                <a:lnTo>
                  <a:pt x="4228961" y="352610"/>
                </a:lnTo>
                <a:lnTo>
                  <a:pt x="4348690" y="352610"/>
                </a:lnTo>
                <a:cubicBezTo>
                  <a:pt x="4349755" y="346683"/>
                  <a:pt x="4350288" y="341085"/>
                  <a:pt x="4350288" y="335792"/>
                </a:cubicBezTo>
                <a:cubicBezTo>
                  <a:pt x="4350288" y="312110"/>
                  <a:pt x="4342705" y="292228"/>
                  <a:pt x="4327566" y="276144"/>
                </a:cubicBezTo>
                <a:cubicBezTo>
                  <a:pt x="4312401" y="260061"/>
                  <a:pt x="4293178" y="252032"/>
                  <a:pt x="4269898" y="252032"/>
                </a:cubicBezTo>
                <a:close/>
                <a:moveTo>
                  <a:pt x="4698421" y="252006"/>
                </a:moveTo>
                <a:cubicBezTo>
                  <a:pt x="4677246" y="252006"/>
                  <a:pt x="4659089" y="260086"/>
                  <a:pt x="4643949" y="276270"/>
                </a:cubicBezTo>
                <a:cubicBezTo>
                  <a:pt x="4628784" y="292430"/>
                  <a:pt x="4621227" y="312261"/>
                  <a:pt x="4621227" y="335740"/>
                </a:cubicBezTo>
                <a:cubicBezTo>
                  <a:pt x="4621227" y="359219"/>
                  <a:pt x="4628810" y="379051"/>
                  <a:pt x="4643949" y="395236"/>
                </a:cubicBezTo>
                <a:cubicBezTo>
                  <a:pt x="4659089" y="411421"/>
                  <a:pt x="4677246" y="419500"/>
                  <a:pt x="4698421" y="419500"/>
                </a:cubicBezTo>
                <a:cubicBezTo>
                  <a:pt x="4720661" y="419500"/>
                  <a:pt x="4737931" y="411800"/>
                  <a:pt x="4750205" y="396350"/>
                </a:cubicBezTo>
                <a:lnTo>
                  <a:pt x="4750205" y="415068"/>
                </a:lnTo>
                <a:lnTo>
                  <a:pt x="4791185" y="415068"/>
                </a:lnTo>
                <a:lnTo>
                  <a:pt x="4791185" y="256438"/>
                </a:lnTo>
                <a:lnTo>
                  <a:pt x="4750205" y="256438"/>
                </a:lnTo>
                <a:lnTo>
                  <a:pt x="4750205" y="275181"/>
                </a:lnTo>
                <a:cubicBezTo>
                  <a:pt x="4737905" y="259731"/>
                  <a:pt x="4720661" y="252006"/>
                  <a:pt x="4698421" y="252006"/>
                </a:cubicBezTo>
                <a:close/>
                <a:moveTo>
                  <a:pt x="4003422" y="252006"/>
                </a:moveTo>
                <a:cubicBezTo>
                  <a:pt x="3981815" y="252006"/>
                  <a:pt x="3966042" y="259402"/>
                  <a:pt x="3956076" y="274193"/>
                </a:cubicBezTo>
                <a:lnTo>
                  <a:pt x="3956076" y="256438"/>
                </a:lnTo>
                <a:lnTo>
                  <a:pt x="3915095" y="256438"/>
                </a:lnTo>
                <a:lnTo>
                  <a:pt x="3915095" y="415093"/>
                </a:lnTo>
                <a:lnTo>
                  <a:pt x="3956076" y="415093"/>
                </a:lnTo>
                <a:lnTo>
                  <a:pt x="3956076" y="329434"/>
                </a:lnTo>
                <a:cubicBezTo>
                  <a:pt x="3956076" y="316314"/>
                  <a:pt x="3959246" y="306487"/>
                  <a:pt x="3965611" y="299927"/>
                </a:cubicBezTo>
                <a:cubicBezTo>
                  <a:pt x="3971951" y="293392"/>
                  <a:pt x="3980421" y="290099"/>
                  <a:pt x="3991021" y="290099"/>
                </a:cubicBezTo>
                <a:cubicBezTo>
                  <a:pt x="4000556" y="290099"/>
                  <a:pt x="4008164" y="292911"/>
                  <a:pt x="4013895" y="298508"/>
                </a:cubicBezTo>
                <a:cubicBezTo>
                  <a:pt x="4019601" y="304106"/>
                  <a:pt x="4022467" y="312211"/>
                  <a:pt x="4022467" y="322772"/>
                </a:cubicBezTo>
                <a:lnTo>
                  <a:pt x="4022467" y="415093"/>
                </a:lnTo>
                <a:lnTo>
                  <a:pt x="4063447" y="415093"/>
                </a:lnTo>
                <a:lnTo>
                  <a:pt x="4063447" y="317682"/>
                </a:lnTo>
                <a:cubicBezTo>
                  <a:pt x="4063447" y="297166"/>
                  <a:pt x="4057767" y="281083"/>
                  <a:pt x="4046457" y="269457"/>
                </a:cubicBezTo>
                <a:cubicBezTo>
                  <a:pt x="4035121" y="257831"/>
                  <a:pt x="4020793" y="252006"/>
                  <a:pt x="4003422" y="252006"/>
                </a:cubicBezTo>
                <a:close/>
                <a:moveTo>
                  <a:pt x="3844596" y="213052"/>
                </a:moveTo>
                <a:cubicBezTo>
                  <a:pt x="3844596" y="237240"/>
                  <a:pt x="3864224" y="256844"/>
                  <a:pt x="3888442" y="256844"/>
                </a:cubicBezTo>
                <a:lnTo>
                  <a:pt x="3844596" y="256844"/>
                </a:lnTo>
                <a:lnTo>
                  <a:pt x="3844596" y="414815"/>
                </a:lnTo>
                <a:lnTo>
                  <a:pt x="3888442" y="414815"/>
                </a:lnTo>
                <a:lnTo>
                  <a:pt x="3888442" y="256844"/>
                </a:lnTo>
                <a:lnTo>
                  <a:pt x="3888442" y="213052"/>
                </a:lnTo>
                <a:close/>
                <a:moveTo>
                  <a:pt x="4815657" y="212672"/>
                </a:moveTo>
                <a:lnTo>
                  <a:pt x="4815657" y="415094"/>
                </a:lnTo>
                <a:lnTo>
                  <a:pt x="4856638" y="415094"/>
                </a:lnTo>
                <a:lnTo>
                  <a:pt x="4856638" y="212672"/>
                </a:lnTo>
                <a:close/>
                <a:moveTo>
                  <a:pt x="4096821" y="212672"/>
                </a:moveTo>
                <a:cubicBezTo>
                  <a:pt x="4096821" y="224754"/>
                  <a:pt x="4101722" y="235695"/>
                  <a:pt x="4109653" y="243620"/>
                </a:cubicBezTo>
                <a:lnTo>
                  <a:pt x="4140607" y="256439"/>
                </a:lnTo>
                <a:lnTo>
                  <a:pt x="4099661" y="256439"/>
                </a:lnTo>
                <a:lnTo>
                  <a:pt x="4072019" y="256439"/>
                </a:lnTo>
                <a:lnTo>
                  <a:pt x="4072019" y="295799"/>
                </a:lnTo>
                <a:lnTo>
                  <a:pt x="4099661" y="295799"/>
                </a:lnTo>
                <a:lnTo>
                  <a:pt x="4099661" y="361778"/>
                </a:lnTo>
                <a:cubicBezTo>
                  <a:pt x="4099661" y="383560"/>
                  <a:pt x="4105443" y="398681"/>
                  <a:pt x="4116981" y="407141"/>
                </a:cubicBezTo>
                <a:cubicBezTo>
                  <a:pt x="4128520" y="415600"/>
                  <a:pt x="4148376" y="418234"/>
                  <a:pt x="4176550" y="415068"/>
                </a:cubicBezTo>
                <a:lnTo>
                  <a:pt x="4176550" y="377938"/>
                </a:lnTo>
                <a:cubicBezTo>
                  <a:pt x="4168714" y="378368"/>
                  <a:pt x="4162146" y="378393"/>
                  <a:pt x="4156846" y="378089"/>
                </a:cubicBezTo>
                <a:cubicBezTo>
                  <a:pt x="4151546" y="377786"/>
                  <a:pt x="4147514" y="376342"/>
                  <a:pt x="4144775" y="373809"/>
                </a:cubicBezTo>
                <a:cubicBezTo>
                  <a:pt x="4142011" y="371276"/>
                  <a:pt x="4140641" y="367249"/>
                  <a:pt x="4140641" y="361753"/>
                </a:cubicBezTo>
                <a:lnTo>
                  <a:pt x="4140641" y="295773"/>
                </a:lnTo>
                <a:lnTo>
                  <a:pt x="4176550" y="295773"/>
                </a:lnTo>
                <a:lnTo>
                  <a:pt x="4176550" y="256439"/>
                </a:lnTo>
                <a:lnTo>
                  <a:pt x="4140667" y="256439"/>
                </a:lnTo>
                <a:lnTo>
                  <a:pt x="4140667" y="212672"/>
                </a:lnTo>
                <a:close/>
                <a:moveTo>
                  <a:pt x="0" y="0"/>
                </a:moveTo>
                <a:lnTo>
                  <a:pt x="5181602" y="0"/>
                </a:lnTo>
                <a:lnTo>
                  <a:pt x="5181602" y="5184339"/>
                </a:lnTo>
                <a:cubicBezTo>
                  <a:pt x="2319494" y="5184339"/>
                  <a:pt x="0" y="2862726"/>
                  <a:pt x="0" y="0"/>
                </a:cubicBezTo>
                <a:close/>
              </a:path>
            </a:pathLst>
          </a:custGeom>
          <a:solidFill>
            <a:schemeClr val="accent3">
              <a:alpha val="40079"/>
            </a:schemeClr>
          </a:solidFill>
          <a:ln w="1905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71758"/>
              </a:solidFill>
              <a:effectLst/>
              <a:uLnTx/>
              <a:uFillTx/>
              <a:latin typeface="Urbanist Medium"/>
              <a:ea typeface="+mn-ea"/>
              <a:cs typeface="+mn-cs"/>
            </a:endParaRPr>
          </a:p>
        </p:txBody>
      </p:sp>
      <p:pic>
        <p:nvPicPr>
          <p:cNvPr id="8" name="Graphic 7">
            <a:extLst>
              <a:ext uri="{FF2B5EF4-FFF2-40B4-BE49-F238E27FC236}">
                <a16:creationId xmlns:a16="http://schemas.microsoft.com/office/drawing/2014/main" id="{46729D10-0FE9-0F9A-5B95-3C5E7728E687}"/>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595317" y="-62632"/>
            <a:ext cx="1584960" cy="894079"/>
          </a:xfrm>
          <a:prstGeom prst="rect">
            <a:avLst/>
          </a:prstGeom>
        </p:spPr>
      </p:pic>
      <p:sp>
        <p:nvSpPr>
          <p:cNvPr id="7" name="Text Placeholder 2">
            <a:extLst>
              <a:ext uri="{FF2B5EF4-FFF2-40B4-BE49-F238E27FC236}">
                <a16:creationId xmlns:a16="http://schemas.microsoft.com/office/drawing/2014/main" id="{93407B19-2470-8225-721D-9D48852D2291}"/>
              </a:ext>
            </a:extLst>
          </p:cNvPr>
          <p:cNvSpPr>
            <a:spLocks noGrp="1"/>
          </p:cNvSpPr>
          <p:nvPr>
            <p:ph type="body" sz="quarter" idx="10" hasCustomPrompt="1"/>
          </p:nvPr>
        </p:nvSpPr>
        <p:spPr>
          <a:xfrm>
            <a:off x="550862" y="613507"/>
            <a:ext cx="11090275" cy="369332"/>
          </a:xfrm>
        </p:spPr>
        <p:txBody>
          <a:bodyPr lIns="0" tIns="0" rIns="0" bIns="0" anchor="b">
            <a:noAutofit/>
          </a:bodyPr>
          <a:lstStyle>
            <a:lvl1pPr marL="0" indent="0">
              <a:lnSpc>
                <a:spcPct val="100000"/>
              </a:lnSpc>
              <a:spcBef>
                <a:spcPts val="0"/>
              </a:spcBef>
              <a:buNone/>
              <a:defRPr sz="2800" b="1">
                <a:solidFill>
                  <a:schemeClr val="tx2"/>
                </a:solidFill>
                <a:latin typeface="+mj-lt"/>
              </a:defRPr>
            </a:lvl1pPr>
          </a:lstStyle>
          <a:p>
            <a:pPr lvl="0"/>
            <a:r>
              <a:rPr lang="en-US"/>
              <a:t>Title with four column contents</a:t>
            </a:r>
          </a:p>
        </p:txBody>
      </p:sp>
      <p:sp>
        <p:nvSpPr>
          <p:cNvPr id="12" name="Slide Number Placeholder 5">
            <a:extLst>
              <a:ext uri="{FF2B5EF4-FFF2-40B4-BE49-F238E27FC236}">
                <a16:creationId xmlns:a16="http://schemas.microsoft.com/office/drawing/2014/main" id="{E399722A-98DF-32E8-5755-E851D0C5DF4D}"/>
              </a:ext>
            </a:extLst>
          </p:cNvPr>
          <p:cNvSpPr>
            <a:spLocks noGrp="1"/>
          </p:cNvSpPr>
          <p:nvPr>
            <p:ph type="sldNum" sz="quarter" idx="4"/>
          </p:nvPr>
        </p:nvSpPr>
        <p:spPr>
          <a:xfrm>
            <a:off x="11087100" y="6564440"/>
            <a:ext cx="554038" cy="138499"/>
          </a:xfrm>
          <a:prstGeom prst="rect">
            <a:avLst/>
          </a:prstGeom>
        </p:spPr>
        <p:txBody>
          <a:bodyPr wrap="square" lIns="0" tIns="0" rIns="0" bIns="0" anchor="ctr">
            <a:normAutofit/>
          </a:bodyPr>
          <a:lstStyle>
            <a:lvl1pPr algn="r">
              <a:defRPr sz="900">
                <a:solidFill>
                  <a:schemeClr val="tx1"/>
                </a:solidFill>
              </a:defRPr>
            </a:lvl1pPr>
          </a:lstStyle>
          <a:p>
            <a:fld id="{0E88EC54-15BE-9740-A323-DA3E96F2F863}" type="slidenum">
              <a:rPr lang="en-US" smtClean="0"/>
              <a:pPr/>
              <a:t>‹#›</a:t>
            </a:fld>
            <a:endParaRPr lang="en-US"/>
          </a:p>
        </p:txBody>
      </p:sp>
      <p:sp>
        <p:nvSpPr>
          <p:cNvPr id="5" name="Text Placeholder 2">
            <a:extLst>
              <a:ext uri="{FF2B5EF4-FFF2-40B4-BE49-F238E27FC236}">
                <a16:creationId xmlns:a16="http://schemas.microsoft.com/office/drawing/2014/main" id="{3A721181-C5F7-B7D2-5071-7A22389E4930}"/>
              </a:ext>
            </a:extLst>
          </p:cNvPr>
          <p:cNvSpPr>
            <a:spLocks noGrp="1"/>
          </p:cNvSpPr>
          <p:nvPr>
            <p:ph type="body" sz="quarter" idx="11" hasCustomPrompt="1"/>
          </p:nvPr>
        </p:nvSpPr>
        <p:spPr>
          <a:xfrm>
            <a:off x="550862" y="2317981"/>
            <a:ext cx="2538567" cy="274320"/>
          </a:xfrm>
        </p:spPr>
        <p:txBody>
          <a:bodyPr lIns="0" tIns="0" rIns="0" bIns="0" anchor="t">
            <a:normAutofit/>
          </a:bodyPr>
          <a:lstStyle>
            <a:lvl1pPr marL="0" indent="0">
              <a:lnSpc>
                <a:spcPct val="100000"/>
              </a:lnSpc>
              <a:spcBef>
                <a:spcPts val="0"/>
              </a:spcBef>
              <a:buNone/>
              <a:defRPr sz="1600" b="1">
                <a:solidFill>
                  <a:schemeClr val="accent4"/>
                </a:solidFill>
                <a:latin typeface="+mj-lt"/>
              </a:defRPr>
            </a:lvl1pPr>
          </a:lstStyle>
          <a:p>
            <a:pPr lvl="0"/>
            <a:r>
              <a:rPr lang="en-US"/>
              <a:t>Click to add text</a:t>
            </a:r>
          </a:p>
        </p:txBody>
      </p:sp>
      <p:sp>
        <p:nvSpPr>
          <p:cNvPr id="10" name="Text Placeholder 2">
            <a:extLst>
              <a:ext uri="{FF2B5EF4-FFF2-40B4-BE49-F238E27FC236}">
                <a16:creationId xmlns:a16="http://schemas.microsoft.com/office/drawing/2014/main" id="{274AA84E-F1FB-3656-9EA5-32FB77ACB6C9}"/>
              </a:ext>
            </a:extLst>
          </p:cNvPr>
          <p:cNvSpPr>
            <a:spLocks noGrp="1"/>
          </p:cNvSpPr>
          <p:nvPr>
            <p:ph type="body" sz="quarter" idx="15" hasCustomPrompt="1"/>
          </p:nvPr>
        </p:nvSpPr>
        <p:spPr>
          <a:xfrm>
            <a:off x="550862" y="1116917"/>
            <a:ext cx="11090275" cy="246221"/>
          </a:xfrm>
        </p:spPr>
        <p:txBody>
          <a:bodyPr lIns="0" tIns="0" rIns="0" bIns="0" anchor="t">
            <a:noAutofit/>
          </a:bodyPr>
          <a:lstStyle>
            <a:lvl1pPr marL="0" indent="0">
              <a:lnSpc>
                <a:spcPct val="100000"/>
              </a:lnSpc>
              <a:spcBef>
                <a:spcPts val="0"/>
              </a:spcBef>
              <a:buNone/>
              <a:defRPr sz="1800" b="0">
                <a:solidFill>
                  <a:schemeClr val="tx2"/>
                </a:solidFill>
              </a:defRPr>
            </a:lvl1pPr>
          </a:lstStyle>
          <a:p>
            <a:pPr lvl="0"/>
            <a:r>
              <a:rPr lang="en-US"/>
              <a:t>Subtitle</a:t>
            </a:r>
          </a:p>
        </p:txBody>
      </p:sp>
      <p:sp>
        <p:nvSpPr>
          <p:cNvPr id="17" name="Text Placeholder 2">
            <a:extLst>
              <a:ext uri="{FF2B5EF4-FFF2-40B4-BE49-F238E27FC236}">
                <a16:creationId xmlns:a16="http://schemas.microsoft.com/office/drawing/2014/main" id="{783B51C4-3E1F-0852-F5AF-ECF6BDEE42CC}"/>
              </a:ext>
            </a:extLst>
          </p:cNvPr>
          <p:cNvSpPr>
            <a:spLocks noGrp="1"/>
          </p:cNvSpPr>
          <p:nvPr>
            <p:ph type="body" sz="quarter" idx="17" hasCustomPrompt="1"/>
          </p:nvPr>
        </p:nvSpPr>
        <p:spPr>
          <a:xfrm>
            <a:off x="550862" y="2689876"/>
            <a:ext cx="2538567" cy="2265101"/>
          </a:xfrm>
        </p:spPr>
        <p:txBody>
          <a:bodyPr lIns="0" tIns="0" rIns="0" bIns="0" anchor="t">
            <a:normAutofit/>
          </a:bodyPr>
          <a:lstStyle>
            <a:lvl1pPr marL="0" indent="0">
              <a:lnSpc>
                <a:spcPct val="100000"/>
              </a:lnSpc>
              <a:spcBef>
                <a:spcPts val="0"/>
              </a:spcBef>
              <a:buNone/>
              <a:defRPr sz="1400" b="0">
                <a:solidFill>
                  <a:srgbClr val="666666"/>
                </a:solidFill>
                <a:latin typeface="+mn-lt"/>
              </a:defRPr>
            </a:lvl1pPr>
          </a:lstStyle>
          <a:p>
            <a:pPr lvl="0"/>
            <a:r>
              <a:rPr lang="en-US"/>
              <a:t>Click to add text</a:t>
            </a:r>
          </a:p>
        </p:txBody>
      </p:sp>
      <p:sp>
        <p:nvSpPr>
          <p:cNvPr id="2" name="Text Placeholder 2">
            <a:extLst>
              <a:ext uri="{FF2B5EF4-FFF2-40B4-BE49-F238E27FC236}">
                <a16:creationId xmlns:a16="http://schemas.microsoft.com/office/drawing/2014/main" id="{A873CB3E-9B57-EEBF-3212-27BA83700308}"/>
              </a:ext>
            </a:extLst>
          </p:cNvPr>
          <p:cNvSpPr>
            <a:spLocks noGrp="1"/>
          </p:cNvSpPr>
          <p:nvPr>
            <p:ph type="body" sz="quarter" idx="18" hasCustomPrompt="1"/>
          </p:nvPr>
        </p:nvSpPr>
        <p:spPr>
          <a:xfrm>
            <a:off x="3401431" y="2317981"/>
            <a:ext cx="2538567" cy="274320"/>
          </a:xfrm>
        </p:spPr>
        <p:txBody>
          <a:bodyPr lIns="0" tIns="0" rIns="0" bIns="0" anchor="t">
            <a:normAutofit/>
          </a:bodyPr>
          <a:lstStyle>
            <a:lvl1pPr marL="0" indent="0">
              <a:lnSpc>
                <a:spcPct val="100000"/>
              </a:lnSpc>
              <a:spcBef>
                <a:spcPts val="0"/>
              </a:spcBef>
              <a:buNone/>
              <a:defRPr sz="1600" b="1">
                <a:solidFill>
                  <a:schemeClr val="accent4"/>
                </a:solidFill>
                <a:latin typeface="+mj-lt"/>
              </a:defRPr>
            </a:lvl1pPr>
          </a:lstStyle>
          <a:p>
            <a:pPr lvl="0"/>
            <a:r>
              <a:rPr lang="en-US"/>
              <a:t>Click to add text</a:t>
            </a:r>
          </a:p>
        </p:txBody>
      </p:sp>
      <p:sp>
        <p:nvSpPr>
          <p:cNvPr id="3" name="Text Placeholder 2">
            <a:extLst>
              <a:ext uri="{FF2B5EF4-FFF2-40B4-BE49-F238E27FC236}">
                <a16:creationId xmlns:a16="http://schemas.microsoft.com/office/drawing/2014/main" id="{D817EDE4-6DE0-FB4A-7026-D63F44BDEFB1}"/>
              </a:ext>
            </a:extLst>
          </p:cNvPr>
          <p:cNvSpPr>
            <a:spLocks noGrp="1"/>
          </p:cNvSpPr>
          <p:nvPr>
            <p:ph type="body" sz="quarter" idx="19" hasCustomPrompt="1"/>
          </p:nvPr>
        </p:nvSpPr>
        <p:spPr>
          <a:xfrm>
            <a:off x="6252000" y="2317981"/>
            <a:ext cx="2538567" cy="274320"/>
          </a:xfrm>
        </p:spPr>
        <p:txBody>
          <a:bodyPr lIns="0" tIns="0" rIns="0" bIns="0" anchor="t">
            <a:normAutofit/>
          </a:bodyPr>
          <a:lstStyle>
            <a:lvl1pPr marL="0" indent="0">
              <a:lnSpc>
                <a:spcPct val="100000"/>
              </a:lnSpc>
              <a:spcBef>
                <a:spcPts val="0"/>
              </a:spcBef>
              <a:buNone/>
              <a:defRPr sz="1600" b="1">
                <a:solidFill>
                  <a:schemeClr val="accent4"/>
                </a:solidFill>
                <a:latin typeface="+mj-lt"/>
              </a:defRPr>
            </a:lvl1pPr>
          </a:lstStyle>
          <a:p>
            <a:pPr lvl="0"/>
            <a:r>
              <a:rPr lang="en-US"/>
              <a:t>Click to add text</a:t>
            </a:r>
          </a:p>
        </p:txBody>
      </p:sp>
      <p:sp>
        <p:nvSpPr>
          <p:cNvPr id="11" name="Text Placeholder 2">
            <a:extLst>
              <a:ext uri="{FF2B5EF4-FFF2-40B4-BE49-F238E27FC236}">
                <a16:creationId xmlns:a16="http://schemas.microsoft.com/office/drawing/2014/main" id="{44DF16EF-E186-B6CE-4724-FA6903C41EEA}"/>
              </a:ext>
            </a:extLst>
          </p:cNvPr>
          <p:cNvSpPr>
            <a:spLocks noGrp="1"/>
          </p:cNvSpPr>
          <p:nvPr>
            <p:ph type="body" sz="quarter" idx="20" hasCustomPrompt="1"/>
          </p:nvPr>
        </p:nvSpPr>
        <p:spPr>
          <a:xfrm>
            <a:off x="9102570" y="2317981"/>
            <a:ext cx="2538567" cy="274320"/>
          </a:xfrm>
        </p:spPr>
        <p:txBody>
          <a:bodyPr lIns="0" tIns="0" rIns="0" bIns="0" anchor="t">
            <a:normAutofit/>
          </a:bodyPr>
          <a:lstStyle>
            <a:lvl1pPr marL="0" indent="0">
              <a:lnSpc>
                <a:spcPct val="100000"/>
              </a:lnSpc>
              <a:spcBef>
                <a:spcPts val="0"/>
              </a:spcBef>
              <a:buNone/>
              <a:defRPr sz="1600" b="1">
                <a:solidFill>
                  <a:schemeClr val="accent4"/>
                </a:solidFill>
                <a:latin typeface="+mj-lt"/>
              </a:defRPr>
            </a:lvl1pPr>
          </a:lstStyle>
          <a:p>
            <a:pPr lvl="0"/>
            <a:r>
              <a:rPr lang="en-US"/>
              <a:t>Click to add text</a:t>
            </a:r>
          </a:p>
        </p:txBody>
      </p:sp>
      <p:sp>
        <p:nvSpPr>
          <p:cNvPr id="15" name="Text Placeholder 2">
            <a:extLst>
              <a:ext uri="{FF2B5EF4-FFF2-40B4-BE49-F238E27FC236}">
                <a16:creationId xmlns:a16="http://schemas.microsoft.com/office/drawing/2014/main" id="{1F1A03DF-CB84-3FE1-1741-98B4665607FA}"/>
              </a:ext>
            </a:extLst>
          </p:cNvPr>
          <p:cNvSpPr>
            <a:spLocks noGrp="1"/>
          </p:cNvSpPr>
          <p:nvPr>
            <p:ph type="body" sz="quarter" idx="21" hasCustomPrompt="1"/>
          </p:nvPr>
        </p:nvSpPr>
        <p:spPr>
          <a:xfrm>
            <a:off x="3401431" y="2689876"/>
            <a:ext cx="2538567" cy="2265101"/>
          </a:xfrm>
        </p:spPr>
        <p:txBody>
          <a:bodyPr lIns="0" tIns="0" rIns="0" bIns="0" anchor="t">
            <a:normAutofit/>
          </a:bodyPr>
          <a:lstStyle>
            <a:lvl1pPr marL="0" indent="0">
              <a:lnSpc>
                <a:spcPct val="100000"/>
              </a:lnSpc>
              <a:spcBef>
                <a:spcPts val="0"/>
              </a:spcBef>
              <a:buNone/>
              <a:defRPr sz="1400" b="0">
                <a:solidFill>
                  <a:srgbClr val="666666"/>
                </a:solidFill>
                <a:latin typeface="+mn-lt"/>
              </a:defRPr>
            </a:lvl1pPr>
          </a:lstStyle>
          <a:p>
            <a:pPr lvl="0"/>
            <a:r>
              <a:rPr lang="en-US"/>
              <a:t>Click to add text</a:t>
            </a:r>
          </a:p>
        </p:txBody>
      </p:sp>
      <p:sp>
        <p:nvSpPr>
          <p:cNvPr id="20" name="Text Placeholder 2">
            <a:extLst>
              <a:ext uri="{FF2B5EF4-FFF2-40B4-BE49-F238E27FC236}">
                <a16:creationId xmlns:a16="http://schemas.microsoft.com/office/drawing/2014/main" id="{B57BE51D-0C7D-24CC-DE8F-98E4E3EC6AA9}"/>
              </a:ext>
            </a:extLst>
          </p:cNvPr>
          <p:cNvSpPr>
            <a:spLocks noGrp="1"/>
          </p:cNvSpPr>
          <p:nvPr>
            <p:ph type="body" sz="quarter" idx="22" hasCustomPrompt="1"/>
          </p:nvPr>
        </p:nvSpPr>
        <p:spPr>
          <a:xfrm>
            <a:off x="6252000" y="2689876"/>
            <a:ext cx="2538567" cy="2265101"/>
          </a:xfrm>
        </p:spPr>
        <p:txBody>
          <a:bodyPr lIns="0" tIns="0" rIns="0" bIns="0" anchor="t">
            <a:normAutofit/>
          </a:bodyPr>
          <a:lstStyle>
            <a:lvl1pPr marL="0" indent="0">
              <a:lnSpc>
                <a:spcPct val="100000"/>
              </a:lnSpc>
              <a:spcBef>
                <a:spcPts val="0"/>
              </a:spcBef>
              <a:buNone/>
              <a:defRPr sz="1400" b="0">
                <a:solidFill>
                  <a:srgbClr val="666666"/>
                </a:solidFill>
                <a:latin typeface="+mn-lt"/>
              </a:defRPr>
            </a:lvl1pPr>
          </a:lstStyle>
          <a:p>
            <a:pPr lvl="0"/>
            <a:r>
              <a:rPr lang="en-US"/>
              <a:t>Click to add text</a:t>
            </a:r>
          </a:p>
        </p:txBody>
      </p:sp>
      <p:sp>
        <p:nvSpPr>
          <p:cNvPr id="21" name="Text Placeholder 2">
            <a:extLst>
              <a:ext uri="{FF2B5EF4-FFF2-40B4-BE49-F238E27FC236}">
                <a16:creationId xmlns:a16="http://schemas.microsoft.com/office/drawing/2014/main" id="{E0822F16-B0B9-CF4F-1F23-26AA458E7CFB}"/>
              </a:ext>
            </a:extLst>
          </p:cNvPr>
          <p:cNvSpPr>
            <a:spLocks noGrp="1"/>
          </p:cNvSpPr>
          <p:nvPr>
            <p:ph type="body" sz="quarter" idx="23" hasCustomPrompt="1"/>
          </p:nvPr>
        </p:nvSpPr>
        <p:spPr>
          <a:xfrm>
            <a:off x="9102570" y="2689876"/>
            <a:ext cx="2538567" cy="2265101"/>
          </a:xfrm>
        </p:spPr>
        <p:txBody>
          <a:bodyPr lIns="0" tIns="0" rIns="0" bIns="0" anchor="t">
            <a:normAutofit/>
          </a:bodyPr>
          <a:lstStyle>
            <a:lvl1pPr marL="0" indent="0">
              <a:lnSpc>
                <a:spcPct val="100000"/>
              </a:lnSpc>
              <a:spcBef>
                <a:spcPts val="0"/>
              </a:spcBef>
              <a:buNone/>
              <a:defRPr sz="1400" b="0">
                <a:solidFill>
                  <a:srgbClr val="666666"/>
                </a:solidFill>
                <a:latin typeface="+mn-lt"/>
              </a:defRPr>
            </a:lvl1pPr>
          </a:lstStyle>
          <a:p>
            <a:pPr lvl="0"/>
            <a:r>
              <a:rPr lang="en-US"/>
              <a:t>Click to add text</a:t>
            </a:r>
          </a:p>
        </p:txBody>
      </p:sp>
    </p:spTree>
    <p:extLst>
      <p:ext uri="{BB962C8B-B14F-4D97-AF65-F5344CB8AC3E}">
        <p14:creationId xmlns:p14="http://schemas.microsoft.com/office/powerpoint/2010/main" val="20018024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wo column layout">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93407B19-2470-8225-721D-9D48852D2291}"/>
              </a:ext>
            </a:extLst>
          </p:cNvPr>
          <p:cNvSpPr>
            <a:spLocks noGrp="1"/>
          </p:cNvSpPr>
          <p:nvPr>
            <p:ph type="body" sz="quarter" idx="10" hasCustomPrompt="1"/>
          </p:nvPr>
        </p:nvSpPr>
        <p:spPr>
          <a:xfrm>
            <a:off x="550862" y="613507"/>
            <a:ext cx="11090275" cy="369332"/>
          </a:xfrm>
        </p:spPr>
        <p:txBody>
          <a:bodyPr lIns="0" tIns="0" rIns="0" bIns="0" anchor="b">
            <a:noAutofit/>
          </a:bodyPr>
          <a:lstStyle>
            <a:lvl1pPr marL="0" indent="0">
              <a:lnSpc>
                <a:spcPct val="100000"/>
              </a:lnSpc>
              <a:spcBef>
                <a:spcPts val="0"/>
              </a:spcBef>
              <a:buNone/>
              <a:defRPr sz="2800" b="1">
                <a:solidFill>
                  <a:schemeClr val="tx2"/>
                </a:solidFill>
                <a:latin typeface="+mj-lt"/>
              </a:defRPr>
            </a:lvl1pPr>
          </a:lstStyle>
          <a:p>
            <a:pPr lvl="0"/>
            <a:r>
              <a:rPr lang="en-US"/>
              <a:t>Two column layout</a:t>
            </a:r>
          </a:p>
        </p:txBody>
      </p:sp>
      <p:sp>
        <p:nvSpPr>
          <p:cNvPr id="8" name="Text Placeholder 2">
            <a:extLst>
              <a:ext uri="{FF2B5EF4-FFF2-40B4-BE49-F238E27FC236}">
                <a16:creationId xmlns:a16="http://schemas.microsoft.com/office/drawing/2014/main" id="{4F1B296A-A77C-AC48-4D47-128AA9FC6AF6}"/>
              </a:ext>
            </a:extLst>
          </p:cNvPr>
          <p:cNvSpPr>
            <a:spLocks noGrp="1"/>
          </p:cNvSpPr>
          <p:nvPr>
            <p:ph type="body" sz="quarter" idx="11" hasCustomPrompt="1"/>
          </p:nvPr>
        </p:nvSpPr>
        <p:spPr>
          <a:xfrm>
            <a:off x="550862" y="1116917"/>
            <a:ext cx="11090275" cy="246221"/>
          </a:xfrm>
        </p:spPr>
        <p:txBody>
          <a:bodyPr lIns="0" tIns="0" rIns="0" bIns="0" anchor="t">
            <a:noAutofit/>
          </a:bodyPr>
          <a:lstStyle>
            <a:lvl1pPr marL="0" indent="0">
              <a:lnSpc>
                <a:spcPct val="100000"/>
              </a:lnSpc>
              <a:spcBef>
                <a:spcPts val="0"/>
              </a:spcBef>
              <a:buNone/>
              <a:defRPr sz="1800" b="0">
                <a:solidFill>
                  <a:schemeClr val="tx2"/>
                </a:solidFill>
              </a:defRPr>
            </a:lvl1pPr>
          </a:lstStyle>
          <a:p>
            <a:pPr lvl="0"/>
            <a:r>
              <a:rPr lang="en-US"/>
              <a:t>Subtitle</a:t>
            </a:r>
          </a:p>
        </p:txBody>
      </p:sp>
      <p:sp>
        <p:nvSpPr>
          <p:cNvPr id="12" name="Slide Number Placeholder 5">
            <a:extLst>
              <a:ext uri="{FF2B5EF4-FFF2-40B4-BE49-F238E27FC236}">
                <a16:creationId xmlns:a16="http://schemas.microsoft.com/office/drawing/2014/main" id="{E399722A-98DF-32E8-5755-E851D0C5DF4D}"/>
              </a:ext>
            </a:extLst>
          </p:cNvPr>
          <p:cNvSpPr>
            <a:spLocks noGrp="1"/>
          </p:cNvSpPr>
          <p:nvPr>
            <p:ph type="sldNum" sz="quarter" idx="4"/>
          </p:nvPr>
        </p:nvSpPr>
        <p:spPr>
          <a:xfrm>
            <a:off x="11087100" y="6564440"/>
            <a:ext cx="554038" cy="138499"/>
          </a:xfrm>
          <a:prstGeom prst="rect">
            <a:avLst/>
          </a:prstGeom>
        </p:spPr>
        <p:txBody>
          <a:bodyPr wrap="square" lIns="0" tIns="0" rIns="0" bIns="0" anchor="ctr">
            <a:normAutofit/>
          </a:bodyPr>
          <a:lstStyle>
            <a:lvl1pPr algn="r">
              <a:defRPr sz="900">
                <a:solidFill>
                  <a:schemeClr val="tx1"/>
                </a:solidFill>
              </a:defRPr>
            </a:lvl1pPr>
          </a:lstStyle>
          <a:p>
            <a:fld id="{0E88EC54-15BE-9740-A323-DA3E96F2F863}" type="slidenum">
              <a:rPr lang="en-US" smtClean="0"/>
              <a:pPr/>
              <a:t>‹#›</a:t>
            </a:fld>
            <a:endParaRPr lang="en-US"/>
          </a:p>
        </p:txBody>
      </p:sp>
      <p:sp>
        <p:nvSpPr>
          <p:cNvPr id="9" name="Text Placeholder 68">
            <a:extLst>
              <a:ext uri="{FF2B5EF4-FFF2-40B4-BE49-F238E27FC236}">
                <a16:creationId xmlns:a16="http://schemas.microsoft.com/office/drawing/2014/main" id="{7919FC95-5E6C-9825-8539-76D0DA706FC7}"/>
              </a:ext>
            </a:extLst>
          </p:cNvPr>
          <p:cNvSpPr>
            <a:spLocks noGrp="1"/>
          </p:cNvSpPr>
          <p:nvPr>
            <p:ph type="body" sz="quarter" idx="13" hasCustomPrompt="1"/>
          </p:nvPr>
        </p:nvSpPr>
        <p:spPr>
          <a:xfrm>
            <a:off x="550861" y="2529255"/>
            <a:ext cx="4858308" cy="3724031"/>
          </a:xfrm>
        </p:spPr>
        <p:txBody>
          <a:bodyPr wrap="square" lIns="0" tIns="0" rIns="0" bIns="0" anchor="t">
            <a:normAutofit/>
          </a:bodyPr>
          <a:lstStyle>
            <a:lvl1pPr marL="0" indent="0">
              <a:lnSpc>
                <a:spcPct val="90000"/>
              </a:lnSpc>
              <a:spcBef>
                <a:spcPts val="0"/>
              </a:spcBef>
              <a:buNone/>
              <a:defRPr sz="1400" b="0">
                <a:solidFill>
                  <a:schemeClr val="tx1"/>
                </a:solidFill>
                <a:latin typeface="+mn-lt"/>
              </a:defRPr>
            </a:lvl1pPr>
          </a:lstStyle>
          <a:p>
            <a:pPr lvl="0"/>
            <a:r>
              <a:rPr lang="en-US"/>
              <a:t>Click to add text</a:t>
            </a:r>
          </a:p>
        </p:txBody>
      </p:sp>
      <p:sp>
        <p:nvSpPr>
          <p:cNvPr id="5" name="Text Placeholder 68">
            <a:extLst>
              <a:ext uri="{FF2B5EF4-FFF2-40B4-BE49-F238E27FC236}">
                <a16:creationId xmlns:a16="http://schemas.microsoft.com/office/drawing/2014/main" id="{70EEF5E1-BB1B-C373-A0EF-38EB6C0FA2D0}"/>
              </a:ext>
            </a:extLst>
          </p:cNvPr>
          <p:cNvSpPr>
            <a:spLocks noGrp="1"/>
          </p:cNvSpPr>
          <p:nvPr>
            <p:ph type="body" sz="quarter" idx="14" hasCustomPrompt="1"/>
          </p:nvPr>
        </p:nvSpPr>
        <p:spPr>
          <a:xfrm>
            <a:off x="6767984" y="2529255"/>
            <a:ext cx="4858308" cy="3724031"/>
          </a:xfrm>
        </p:spPr>
        <p:txBody>
          <a:bodyPr wrap="square" lIns="0" tIns="0" rIns="0" bIns="0" anchor="t">
            <a:normAutofit/>
          </a:bodyPr>
          <a:lstStyle>
            <a:lvl1pPr marL="0" indent="0">
              <a:lnSpc>
                <a:spcPct val="90000"/>
              </a:lnSpc>
              <a:spcBef>
                <a:spcPts val="0"/>
              </a:spcBef>
              <a:buNone/>
              <a:defRPr sz="1400" b="0">
                <a:solidFill>
                  <a:schemeClr val="tx1"/>
                </a:solidFill>
                <a:latin typeface="+mn-lt"/>
              </a:defRPr>
            </a:lvl1pPr>
          </a:lstStyle>
          <a:p>
            <a:pPr lvl="0"/>
            <a:r>
              <a:rPr lang="en-US"/>
              <a:t>Click to add text</a:t>
            </a:r>
          </a:p>
        </p:txBody>
      </p:sp>
      <p:pic>
        <p:nvPicPr>
          <p:cNvPr id="2" name="Graphic 1">
            <a:extLst>
              <a:ext uri="{FF2B5EF4-FFF2-40B4-BE49-F238E27FC236}">
                <a16:creationId xmlns:a16="http://schemas.microsoft.com/office/drawing/2014/main" id="{3DB839A6-88EE-EB9C-287F-3B0DCE3B6A1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95317" y="-62632"/>
            <a:ext cx="1584960" cy="894079"/>
          </a:xfrm>
          <a:prstGeom prst="rect">
            <a:avLst/>
          </a:prstGeom>
        </p:spPr>
      </p:pic>
    </p:spTree>
    <p:extLst>
      <p:ext uri="{BB962C8B-B14F-4D97-AF65-F5344CB8AC3E}">
        <p14:creationId xmlns:p14="http://schemas.microsoft.com/office/powerpoint/2010/main" val="4736010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hree column layout">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93407B19-2470-8225-721D-9D48852D2291}"/>
              </a:ext>
            </a:extLst>
          </p:cNvPr>
          <p:cNvSpPr>
            <a:spLocks noGrp="1"/>
          </p:cNvSpPr>
          <p:nvPr>
            <p:ph type="body" sz="quarter" idx="10" hasCustomPrompt="1"/>
          </p:nvPr>
        </p:nvSpPr>
        <p:spPr>
          <a:xfrm>
            <a:off x="550862" y="613507"/>
            <a:ext cx="11090275" cy="369332"/>
          </a:xfrm>
        </p:spPr>
        <p:txBody>
          <a:bodyPr lIns="0" tIns="0" rIns="0" bIns="0" anchor="b">
            <a:noAutofit/>
          </a:bodyPr>
          <a:lstStyle>
            <a:lvl1pPr marL="0" indent="0">
              <a:lnSpc>
                <a:spcPct val="100000"/>
              </a:lnSpc>
              <a:spcBef>
                <a:spcPts val="0"/>
              </a:spcBef>
              <a:buNone/>
              <a:defRPr sz="2800" b="1">
                <a:solidFill>
                  <a:schemeClr val="tx2"/>
                </a:solidFill>
                <a:latin typeface="+mj-lt"/>
              </a:defRPr>
            </a:lvl1pPr>
          </a:lstStyle>
          <a:p>
            <a:pPr lvl="0"/>
            <a:r>
              <a:rPr lang="en-US"/>
              <a:t>Three column layout</a:t>
            </a:r>
          </a:p>
        </p:txBody>
      </p:sp>
      <p:sp>
        <p:nvSpPr>
          <p:cNvPr id="8" name="Text Placeholder 2">
            <a:extLst>
              <a:ext uri="{FF2B5EF4-FFF2-40B4-BE49-F238E27FC236}">
                <a16:creationId xmlns:a16="http://schemas.microsoft.com/office/drawing/2014/main" id="{4F1B296A-A77C-AC48-4D47-128AA9FC6AF6}"/>
              </a:ext>
            </a:extLst>
          </p:cNvPr>
          <p:cNvSpPr>
            <a:spLocks noGrp="1"/>
          </p:cNvSpPr>
          <p:nvPr>
            <p:ph type="body" sz="quarter" idx="11" hasCustomPrompt="1"/>
          </p:nvPr>
        </p:nvSpPr>
        <p:spPr>
          <a:xfrm>
            <a:off x="550862" y="1116917"/>
            <a:ext cx="11090275" cy="246221"/>
          </a:xfrm>
        </p:spPr>
        <p:txBody>
          <a:bodyPr lIns="0" tIns="0" rIns="0" bIns="0" anchor="t">
            <a:noAutofit/>
          </a:bodyPr>
          <a:lstStyle>
            <a:lvl1pPr marL="0" indent="0">
              <a:lnSpc>
                <a:spcPct val="100000"/>
              </a:lnSpc>
              <a:spcBef>
                <a:spcPts val="0"/>
              </a:spcBef>
              <a:buNone/>
              <a:defRPr sz="1800" b="0">
                <a:solidFill>
                  <a:schemeClr val="tx2"/>
                </a:solidFill>
              </a:defRPr>
            </a:lvl1pPr>
          </a:lstStyle>
          <a:p>
            <a:pPr lvl="0"/>
            <a:r>
              <a:rPr lang="en-US"/>
              <a:t>Subtitle</a:t>
            </a:r>
          </a:p>
        </p:txBody>
      </p:sp>
      <p:sp>
        <p:nvSpPr>
          <p:cNvPr id="12" name="Slide Number Placeholder 5">
            <a:extLst>
              <a:ext uri="{FF2B5EF4-FFF2-40B4-BE49-F238E27FC236}">
                <a16:creationId xmlns:a16="http://schemas.microsoft.com/office/drawing/2014/main" id="{E399722A-98DF-32E8-5755-E851D0C5DF4D}"/>
              </a:ext>
            </a:extLst>
          </p:cNvPr>
          <p:cNvSpPr>
            <a:spLocks noGrp="1"/>
          </p:cNvSpPr>
          <p:nvPr>
            <p:ph type="sldNum" sz="quarter" idx="4"/>
          </p:nvPr>
        </p:nvSpPr>
        <p:spPr>
          <a:xfrm>
            <a:off x="11087100" y="6564440"/>
            <a:ext cx="554038" cy="138499"/>
          </a:xfrm>
          <a:prstGeom prst="rect">
            <a:avLst/>
          </a:prstGeom>
        </p:spPr>
        <p:txBody>
          <a:bodyPr wrap="square" lIns="0" tIns="0" rIns="0" bIns="0" anchor="ctr">
            <a:normAutofit/>
          </a:bodyPr>
          <a:lstStyle>
            <a:lvl1pPr algn="r">
              <a:defRPr sz="900">
                <a:solidFill>
                  <a:schemeClr val="tx1"/>
                </a:solidFill>
              </a:defRPr>
            </a:lvl1pPr>
          </a:lstStyle>
          <a:p>
            <a:fld id="{0E88EC54-15BE-9740-A323-DA3E96F2F863}" type="slidenum">
              <a:rPr lang="en-US" smtClean="0"/>
              <a:pPr/>
              <a:t>‹#›</a:t>
            </a:fld>
            <a:endParaRPr lang="en-US"/>
          </a:p>
        </p:txBody>
      </p:sp>
      <p:sp>
        <p:nvSpPr>
          <p:cNvPr id="9" name="Text Placeholder 68">
            <a:extLst>
              <a:ext uri="{FF2B5EF4-FFF2-40B4-BE49-F238E27FC236}">
                <a16:creationId xmlns:a16="http://schemas.microsoft.com/office/drawing/2014/main" id="{7919FC95-5E6C-9825-8539-76D0DA706FC7}"/>
              </a:ext>
            </a:extLst>
          </p:cNvPr>
          <p:cNvSpPr>
            <a:spLocks noGrp="1"/>
          </p:cNvSpPr>
          <p:nvPr>
            <p:ph type="body" sz="quarter" idx="13" hasCustomPrompt="1"/>
          </p:nvPr>
        </p:nvSpPr>
        <p:spPr>
          <a:xfrm>
            <a:off x="550862" y="2529255"/>
            <a:ext cx="2806104" cy="3724031"/>
          </a:xfrm>
        </p:spPr>
        <p:txBody>
          <a:bodyPr wrap="square" lIns="0" tIns="0" rIns="0" bIns="0" anchor="t">
            <a:normAutofit/>
          </a:bodyPr>
          <a:lstStyle>
            <a:lvl1pPr marL="0" indent="0">
              <a:lnSpc>
                <a:spcPct val="100000"/>
              </a:lnSpc>
              <a:spcBef>
                <a:spcPts val="0"/>
              </a:spcBef>
              <a:buNone/>
              <a:defRPr sz="1400" b="0">
                <a:solidFill>
                  <a:schemeClr val="tx1"/>
                </a:solidFill>
                <a:latin typeface="+mn-lt"/>
              </a:defRPr>
            </a:lvl1pPr>
          </a:lstStyle>
          <a:p>
            <a:pPr lvl="0"/>
            <a:r>
              <a:rPr lang="en-US"/>
              <a:t>Click to add text</a:t>
            </a:r>
          </a:p>
        </p:txBody>
      </p:sp>
      <p:sp>
        <p:nvSpPr>
          <p:cNvPr id="5" name="Text Placeholder 68">
            <a:extLst>
              <a:ext uri="{FF2B5EF4-FFF2-40B4-BE49-F238E27FC236}">
                <a16:creationId xmlns:a16="http://schemas.microsoft.com/office/drawing/2014/main" id="{70EEF5E1-BB1B-C373-A0EF-38EB6C0FA2D0}"/>
              </a:ext>
            </a:extLst>
          </p:cNvPr>
          <p:cNvSpPr>
            <a:spLocks noGrp="1"/>
          </p:cNvSpPr>
          <p:nvPr>
            <p:ph type="body" sz="quarter" idx="14" hasCustomPrompt="1"/>
          </p:nvPr>
        </p:nvSpPr>
        <p:spPr>
          <a:xfrm>
            <a:off x="8042871" y="2520462"/>
            <a:ext cx="2806104" cy="3724031"/>
          </a:xfrm>
        </p:spPr>
        <p:txBody>
          <a:bodyPr wrap="square" lIns="0" tIns="0" rIns="0" bIns="0" anchor="t">
            <a:normAutofit/>
          </a:bodyPr>
          <a:lstStyle>
            <a:lvl1pPr marL="0" indent="0">
              <a:lnSpc>
                <a:spcPct val="100000"/>
              </a:lnSpc>
              <a:spcBef>
                <a:spcPts val="0"/>
              </a:spcBef>
              <a:buNone/>
              <a:defRPr sz="1400" b="0">
                <a:solidFill>
                  <a:schemeClr val="tx1"/>
                </a:solidFill>
                <a:latin typeface="+mn-lt"/>
              </a:defRPr>
            </a:lvl1pPr>
          </a:lstStyle>
          <a:p>
            <a:pPr lvl="0"/>
            <a:r>
              <a:rPr lang="en-US"/>
              <a:t>Click to add text</a:t>
            </a:r>
          </a:p>
        </p:txBody>
      </p:sp>
      <p:sp>
        <p:nvSpPr>
          <p:cNvPr id="10" name="Text Placeholder 68">
            <a:extLst>
              <a:ext uri="{FF2B5EF4-FFF2-40B4-BE49-F238E27FC236}">
                <a16:creationId xmlns:a16="http://schemas.microsoft.com/office/drawing/2014/main" id="{F47B224A-8205-0BD4-EB90-1C5CC46F0616}"/>
              </a:ext>
            </a:extLst>
          </p:cNvPr>
          <p:cNvSpPr>
            <a:spLocks noGrp="1"/>
          </p:cNvSpPr>
          <p:nvPr>
            <p:ph type="body" sz="quarter" idx="15" hasCustomPrompt="1"/>
          </p:nvPr>
        </p:nvSpPr>
        <p:spPr>
          <a:xfrm>
            <a:off x="4297958" y="2520462"/>
            <a:ext cx="2806104" cy="3724031"/>
          </a:xfrm>
        </p:spPr>
        <p:txBody>
          <a:bodyPr wrap="square" lIns="0" tIns="0" rIns="0" bIns="0" anchor="t">
            <a:normAutofit/>
          </a:bodyPr>
          <a:lstStyle>
            <a:lvl1pPr marL="0" indent="0">
              <a:lnSpc>
                <a:spcPct val="100000"/>
              </a:lnSpc>
              <a:spcBef>
                <a:spcPts val="0"/>
              </a:spcBef>
              <a:buNone/>
              <a:defRPr sz="1400" b="0">
                <a:solidFill>
                  <a:schemeClr val="tx1"/>
                </a:solidFill>
                <a:latin typeface="+mn-lt"/>
              </a:defRPr>
            </a:lvl1pPr>
          </a:lstStyle>
          <a:p>
            <a:pPr lvl="0"/>
            <a:r>
              <a:rPr lang="en-US"/>
              <a:t>Click to add text</a:t>
            </a:r>
          </a:p>
        </p:txBody>
      </p:sp>
      <p:pic>
        <p:nvPicPr>
          <p:cNvPr id="2" name="Graphic 1">
            <a:extLst>
              <a:ext uri="{FF2B5EF4-FFF2-40B4-BE49-F238E27FC236}">
                <a16:creationId xmlns:a16="http://schemas.microsoft.com/office/drawing/2014/main" id="{275097B3-BC67-0D0B-94FC-C7F8C6D812C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95317" y="-62632"/>
            <a:ext cx="1584960" cy="894079"/>
          </a:xfrm>
          <a:prstGeom prst="rect">
            <a:avLst/>
          </a:prstGeom>
        </p:spPr>
      </p:pic>
    </p:spTree>
    <p:extLst>
      <p:ext uri="{BB962C8B-B14F-4D97-AF65-F5344CB8AC3E}">
        <p14:creationId xmlns:p14="http://schemas.microsoft.com/office/powerpoint/2010/main" val="2478795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Imágen Onda">
    <p:spTree>
      <p:nvGrpSpPr>
        <p:cNvPr id="1" name=""/>
        <p:cNvGrpSpPr/>
        <p:nvPr/>
      </p:nvGrpSpPr>
      <p:grpSpPr>
        <a:xfrm>
          <a:off x="0" y="0"/>
          <a:ext cx="0" cy="0"/>
          <a:chOff x="0" y="0"/>
          <a:chExt cx="0" cy="0"/>
        </a:xfrm>
      </p:grpSpPr>
      <p:sp>
        <p:nvSpPr>
          <p:cNvPr id="3" name="Picture Placeholder 1">
            <a:extLst>
              <a:ext uri="{FF2B5EF4-FFF2-40B4-BE49-F238E27FC236}">
                <a16:creationId xmlns:a16="http://schemas.microsoft.com/office/drawing/2014/main" id="{1637200E-A12D-B4BA-2A79-5CF88B747C5F}"/>
              </a:ext>
            </a:extLst>
          </p:cNvPr>
          <p:cNvSpPr>
            <a:spLocks noGrp="1"/>
          </p:cNvSpPr>
          <p:nvPr>
            <p:ph type="pic" sz="quarter" idx="10"/>
          </p:nvPr>
        </p:nvSpPr>
        <p:spPr>
          <a:xfrm>
            <a:off x="6419911" y="0"/>
            <a:ext cx="5772089" cy="6858000"/>
          </a:xfrm>
          <a:custGeom>
            <a:avLst/>
            <a:gdLst>
              <a:gd name="connsiteX0" fmla="*/ 3014909 w 5772089"/>
              <a:gd name="connsiteY0" fmla="*/ 0 h 6858000"/>
              <a:gd name="connsiteX1" fmla="*/ 3387158 w 5772089"/>
              <a:gd name="connsiteY1" fmla="*/ 0 h 6858000"/>
              <a:gd name="connsiteX2" fmla="*/ 3522521 w 5772089"/>
              <a:gd name="connsiteY2" fmla="*/ 0 h 6858000"/>
              <a:gd name="connsiteX3" fmla="*/ 4291631 w 5772089"/>
              <a:gd name="connsiteY3" fmla="*/ 0 h 6858000"/>
              <a:gd name="connsiteX4" fmla="*/ 5772089 w 5772089"/>
              <a:gd name="connsiteY4" fmla="*/ 0 h 6858000"/>
              <a:gd name="connsiteX5" fmla="*/ 5772089 w 5772089"/>
              <a:gd name="connsiteY5" fmla="*/ 6858000 h 6858000"/>
              <a:gd name="connsiteX6" fmla="*/ 4291631 w 5772089"/>
              <a:gd name="connsiteY6" fmla="*/ 6858000 h 6858000"/>
              <a:gd name="connsiteX7" fmla="*/ 3522521 w 5772089"/>
              <a:gd name="connsiteY7" fmla="*/ 6858000 h 6858000"/>
              <a:gd name="connsiteX8" fmla="*/ 3387158 w 5772089"/>
              <a:gd name="connsiteY8" fmla="*/ 6858000 h 6858000"/>
              <a:gd name="connsiteX9" fmla="*/ 0 w 5772089"/>
              <a:gd name="connsiteY9" fmla="*/ 6858000 h 6858000"/>
              <a:gd name="connsiteX10" fmla="*/ 661434 w 5772089"/>
              <a:gd name="connsiteY10" fmla="*/ 3502414 h 6858000"/>
              <a:gd name="connsiteX11" fmla="*/ 587600 w 5772089"/>
              <a:gd name="connsiteY11" fmla="*/ 2477690 h 6858000"/>
              <a:gd name="connsiteX12" fmla="*/ 1289027 w 5772089"/>
              <a:gd name="connsiteY12" fmla="*/ 2229922 h 6858000"/>
              <a:gd name="connsiteX13" fmla="*/ 1587442 w 5772089"/>
              <a:gd name="connsiteY13" fmla="*/ 2171803 h 6858000"/>
              <a:gd name="connsiteX14" fmla="*/ 2593437 w 5772089"/>
              <a:gd name="connsiteY14" fmla="*/ 926840 h 6858000"/>
              <a:gd name="connsiteX15" fmla="*/ 3014909 w 5772089"/>
              <a:gd name="connsiteY1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72089" h="6858000">
                <a:moveTo>
                  <a:pt x="3014909" y="0"/>
                </a:moveTo>
                <a:cubicBezTo>
                  <a:pt x="3387158" y="0"/>
                  <a:pt x="3387158" y="0"/>
                  <a:pt x="3387158" y="0"/>
                </a:cubicBezTo>
                <a:cubicBezTo>
                  <a:pt x="3522521" y="0"/>
                  <a:pt x="3522521" y="0"/>
                  <a:pt x="3522521" y="0"/>
                </a:cubicBezTo>
                <a:cubicBezTo>
                  <a:pt x="4291631" y="0"/>
                  <a:pt x="4291631" y="0"/>
                  <a:pt x="4291631" y="0"/>
                </a:cubicBezTo>
                <a:lnTo>
                  <a:pt x="5772089" y="0"/>
                </a:lnTo>
                <a:lnTo>
                  <a:pt x="5772089" y="6858000"/>
                </a:lnTo>
                <a:lnTo>
                  <a:pt x="4291631" y="6858000"/>
                </a:lnTo>
                <a:cubicBezTo>
                  <a:pt x="3522521" y="6858000"/>
                  <a:pt x="3522521" y="6858000"/>
                  <a:pt x="3522521" y="6858000"/>
                </a:cubicBezTo>
                <a:cubicBezTo>
                  <a:pt x="3387158" y="6858000"/>
                  <a:pt x="3387158" y="6858000"/>
                  <a:pt x="3387158" y="6858000"/>
                </a:cubicBezTo>
                <a:cubicBezTo>
                  <a:pt x="0" y="6858000"/>
                  <a:pt x="0" y="6858000"/>
                  <a:pt x="0" y="6858000"/>
                </a:cubicBezTo>
                <a:cubicBezTo>
                  <a:pt x="507612" y="6432817"/>
                  <a:pt x="1458231" y="5334681"/>
                  <a:pt x="661434" y="3502414"/>
                </a:cubicBezTo>
                <a:cubicBezTo>
                  <a:pt x="393784" y="2973228"/>
                  <a:pt x="396860" y="2661223"/>
                  <a:pt x="587600" y="2477690"/>
                </a:cubicBezTo>
                <a:cubicBezTo>
                  <a:pt x="729116" y="2336983"/>
                  <a:pt x="975231" y="2269686"/>
                  <a:pt x="1289027" y="2229922"/>
                </a:cubicBezTo>
                <a:cubicBezTo>
                  <a:pt x="1396703" y="2214627"/>
                  <a:pt x="1498225" y="2196274"/>
                  <a:pt x="1587442" y="2171803"/>
                </a:cubicBezTo>
                <a:cubicBezTo>
                  <a:pt x="2104283" y="2037212"/>
                  <a:pt x="2350399" y="1716030"/>
                  <a:pt x="2593437" y="926840"/>
                </a:cubicBezTo>
                <a:cubicBezTo>
                  <a:pt x="2676501" y="611776"/>
                  <a:pt x="2867240" y="250828"/>
                  <a:pt x="3014909" y="0"/>
                </a:cubicBezTo>
                <a:close/>
              </a:path>
            </a:pathLst>
          </a:custGeom>
        </p:spPr>
        <p:txBody>
          <a:bodyPr/>
          <a:lstStyle/>
          <a:p>
            <a:endParaRPr lang="es-MX"/>
          </a:p>
        </p:txBody>
      </p:sp>
      <p:sp>
        <p:nvSpPr>
          <p:cNvPr id="9" name="Freeform 5">
            <a:extLst>
              <a:ext uri="{FF2B5EF4-FFF2-40B4-BE49-F238E27FC236}">
                <a16:creationId xmlns:a16="http://schemas.microsoft.com/office/drawing/2014/main" id="{8790661E-96CC-5B1D-CB4D-6BE1EFF9B484}"/>
              </a:ext>
            </a:extLst>
          </p:cNvPr>
          <p:cNvSpPr>
            <a:spLocks/>
          </p:cNvSpPr>
          <p:nvPr userDrawn="1"/>
        </p:nvSpPr>
        <p:spPr bwMode="auto">
          <a:xfrm flipH="1">
            <a:off x="8006604" y="0"/>
            <a:ext cx="1428905" cy="2172136"/>
          </a:xfrm>
          <a:custGeom>
            <a:avLst/>
            <a:gdLst>
              <a:gd name="T0" fmla="*/ 464 w 464"/>
              <a:gd name="T1" fmla="*/ 710 h 710"/>
              <a:gd name="T2" fmla="*/ 187 w 464"/>
              <a:gd name="T3" fmla="*/ 381 h 710"/>
              <a:gd name="T4" fmla="*/ 31 w 464"/>
              <a:gd name="T5" fmla="*/ 0 h 710"/>
              <a:gd name="T6" fmla="*/ 0 w 464"/>
              <a:gd name="T7" fmla="*/ 0 h 710"/>
              <a:gd name="T8" fmla="*/ 137 w 464"/>
              <a:gd name="T9" fmla="*/ 303 h 710"/>
              <a:gd name="T10" fmla="*/ 464 w 464"/>
              <a:gd name="T11" fmla="*/ 710 h 710"/>
            </a:gdLst>
            <a:ahLst/>
            <a:cxnLst>
              <a:cxn ang="0">
                <a:pos x="T0" y="T1"/>
              </a:cxn>
              <a:cxn ang="0">
                <a:pos x="T2" y="T3"/>
              </a:cxn>
              <a:cxn ang="0">
                <a:pos x="T4" y="T5"/>
              </a:cxn>
              <a:cxn ang="0">
                <a:pos x="T6" y="T7"/>
              </a:cxn>
              <a:cxn ang="0">
                <a:pos x="T8" y="T9"/>
              </a:cxn>
              <a:cxn ang="0">
                <a:pos x="T10" y="T11"/>
              </a:cxn>
            </a:cxnLst>
            <a:rect l="0" t="0" r="r" b="b"/>
            <a:pathLst>
              <a:path w="464" h="710">
                <a:moveTo>
                  <a:pt x="464" y="710"/>
                </a:moveTo>
                <a:cubicBezTo>
                  <a:pt x="340" y="662"/>
                  <a:pt x="243" y="579"/>
                  <a:pt x="187" y="381"/>
                </a:cubicBezTo>
                <a:cubicBezTo>
                  <a:pt x="132" y="184"/>
                  <a:pt x="64" y="55"/>
                  <a:pt x="31" y="0"/>
                </a:cubicBezTo>
                <a:cubicBezTo>
                  <a:pt x="0" y="0"/>
                  <a:pt x="0" y="0"/>
                  <a:pt x="0" y="0"/>
                </a:cubicBezTo>
                <a:cubicBezTo>
                  <a:pt x="48" y="82"/>
                  <a:pt x="110" y="200"/>
                  <a:pt x="137" y="303"/>
                </a:cubicBezTo>
                <a:cubicBezTo>
                  <a:pt x="216" y="561"/>
                  <a:pt x="296" y="666"/>
                  <a:pt x="464" y="710"/>
                </a:cubicBezTo>
                <a:close/>
              </a:path>
            </a:pathLst>
          </a:custGeom>
          <a:solidFill>
            <a:srgbClr val="E13C5B"/>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6">
            <a:extLst>
              <a:ext uri="{FF2B5EF4-FFF2-40B4-BE49-F238E27FC236}">
                <a16:creationId xmlns:a16="http://schemas.microsoft.com/office/drawing/2014/main" id="{8A729A46-DE3E-861C-0AC2-5341959B5AB4}"/>
              </a:ext>
            </a:extLst>
          </p:cNvPr>
          <p:cNvSpPr>
            <a:spLocks/>
          </p:cNvSpPr>
          <p:nvPr userDrawn="1"/>
        </p:nvSpPr>
        <p:spPr bwMode="auto">
          <a:xfrm flipH="1">
            <a:off x="6290037" y="2477771"/>
            <a:ext cx="1591132" cy="4380229"/>
          </a:xfrm>
          <a:custGeom>
            <a:avLst/>
            <a:gdLst>
              <a:gd name="T0" fmla="*/ 186 w 517"/>
              <a:gd name="T1" fmla="*/ 807 h 1432"/>
              <a:gd name="T2" fmla="*/ 283 w 517"/>
              <a:gd name="T3" fmla="*/ 0 h 1432"/>
              <a:gd name="T4" fmla="*/ 259 w 517"/>
              <a:gd name="T5" fmla="*/ 335 h 1432"/>
              <a:gd name="T6" fmla="*/ 474 w 517"/>
              <a:gd name="T7" fmla="*/ 1432 h 1432"/>
              <a:gd name="T8" fmla="*/ 517 w 517"/>
              <a:gd name="T9" fmla="*/ 1432 h 1432"/>
              <a:gd name="T10" fmla="*/ 186 w 517"/>
              <a:gd name="T11" fmla="*/ 807 h 1432"/>
            </a:gdLst>
            <a:ahLst/>
            <a:cxnLst>
              <a:cxn ang="0">
                <a:pos x="T0" y="T1"/>
              </a:cxn>
              <a:cxn ang="0">
                <a:pos x="T2" y="T3"/>
              </a:cxn>
              <a:cxn ang="0">
                <a:pos x="T4" y="T5"/>
              </a:cxn>
              <a:cxn ang="0">
                <a:pos x="T6" y="T7"/>
              </a:cxn>
              <a:cxn ang="0">
                <a:pos x="T8" y="T9"/>
              </a:cxn>
              <a:cxn ang="0">
                <a:pos x="T10" y="T11"/>
              </a:cxn>
            </a:cxnLst>
            <a:rect l="0" t="0" r="r" b="b"/>
            <a:pathLst>
              <a:path w="517" h="1432">
                <a:moveTo>
                  <a:pt x="186" y="807"/>
                </a:moveTo>
                <a:cubicBezTo>
                  <a:pt x="162" y="414"/>
                  <a:pt x="503" y="144"/>
                  <a:pt x="283" y="0"/>
                </a:cubicBezTo>
                <a:cubicBezTo>
                  <a:pt x="345" y="60"/>
                  <a:pt x="346" y="162"/>
                  <a:pt x="259" y="335"/>
                </a:cubicBezTo>
                <a:cubicBezTo>
                  <a:pt x="0" y="934"/>
                  <a:pt x="309" y="1293"/>
                  <a:pt x="474" y="1432"/>
                </a:cubicBezTo>
                <a:cubicBezTo>
                  <a:pt x="517" y="1432"/>
                  <a:pt x="517" y="1432"/>
                  <a:pt x="517" y="1432"/>
                </a:cubicBezTo>
                <a:cubicBezTo>
                  <a:pt x="449" y="1378"/>
                  <a:pt x="208" y="1167"/>
                  <a:pt x="186" y="807"/>
                </a:cubicBezTo>
                <a:close/>
              </a:path>
            </a:pathLst>
          </a:custGeom>
          <a:solidFill>
            <a:srgbClr val="E13C5B"/>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91388E63-4C2D-779C-FFCA-B280EB670C3B}"/>
              </a:ext>
            </a:extLst>
          </p:cNvPr>
          <p:cNvSpPr>
            <a:spLocks/>
          </p:cNvSpPr>
          <p:nvPr userDrawn="1"/>
        </p:nvSpPr>
        <p:spPr bwMode="auto">
          <a:xfrm rot="1308052" flipH="1">
            <a:off x="7369263" y="-439877"/>
            <a:ext cx="1448006" cy="2411010"/>
          </a:xfrm>
          <a:custGeom>
            <a:avLst/>
            <a:gdLst>
              <a:gd name="T0" fmla="*/ 282 w 655"/>
              <a:gd name="T1" fmla="*/ 1201 h 1201"/>
              <a:gd name="T2" fmla="*/ 655 w 655"/>
              <a:gd name="T3" fmla="*/ 0 h 1201"/>
              <a:gd name="T4" fmla="*/ 264 w 655"/>
              <a:gd name="T5" fmla="*/ 0 h 1201"/>
              <a:gd name="T6" fmla="*/ 282 w 655"/>
              <a:gd name="T7" fmla="*/ 1201 h 1201"/>
            </a:gdLst>
            <a:ahLst/>
            <a:cxnLst>
              <a:cxn ang="0">
                <a:pos x="T0" y="T1"/>
              </a:cxn>
              <a:cxn ang="0">
                <a:pos x="T2" y="T3"/>
              </a:cxn>
              <a:cxn ang="0">
                <a:pos x="T4" y="T5"/>
              </a:cxn>
              <a:cxn ang="0">
                <a:pos x="T6" y="T7"/>
              </a:cxn>
            </a:cxnLst>
            <a:rect l="0" t="0" r="r" b="b"/>
            <a:pathLst>
              <a:path w="655" h="1201">
                <a:moveTo>
                  <a:pt x="282" y="1201"/>
                </a:moveTo>
                <a:cubicBezTo>
                  <a:pt x="282" y="1201"/>
                  <a:pt x="62" y="446"/>
                  <a:pt x="655" y="0"/>
                </a:cubicBezTo>
                <a:cubicBezTo>
                  <a:pt x="264" y="0"/>
                  <a:pt x="264" y="0"/>
                  <a:pt x="264" y="0"/>
                </a:cubicBezTo>
                <a:cubicBezTo>
                  <a:pt x="178" y="182"/>
                  <a:pt x="0" y="676"/>
                  <a:pt x="282" y="1201"/>
                </a:cubicBezTo>
                <a:close/>
              </a:path>
            </a:pathLst>
          </a:custGeom>
          <a:solidFill>
            <a:srgbClr val="014B7F"/>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12" name="Conector recto 11">
            <a:extLst>
              <a:ext uri="{FF2B5EF4-FFF2-40B4-BE49-F238E27FC236}">
                <a16:creationId xmlns:a16="http://schemas.microsoft.com/office/drawing/2014/main" id="{63C5D24C-A0CE-FFDF-667D-A6E742A319F0}"/>
              </a:ext>
            </a:extLst>
          </p:cNvPr>
          <p:cNvCxnSpPr>
            <a:cxnSpLocks/>
          </p:cNvCxnSpPr>
          <p:nvPr userDrawn="1"/>
        </p:nvCxnSpPr>
        <p:spPr>
          <a:xfrm>
            <a:off x="4950691" y="799490"/>
            <a:ext cx="2930478" cy="0"/>
          </a:xfrm>
          <a:prstGeom prst="line">
            <a:avLst/>
          </a:prstGeom>
          <a:ln w="19050">
            <a:solidFill>
              <a:srgbClr val="E33C5B"/>
            </a:solidFill>
          </a:ln>
        </p:spPr>
        <p:style>
          <a:lnRef idx="1">
            <a:schemeClr val="accent1"/>
          </a:lnRef>
          <a:fillRef idx="0">
            <a:schemeClr val="accent1"/>
          </a:fillRef>
          <a:effectRef idx="0">
            <a:schemeClr val="accent1"/>
          </a:effectRef>
          <a:fontRef idx="minor">
            <a:schemeClr val="tx1"/>
          </a:fontRef>
        </p:style>
      </p:cxnSp>
      <p:sp>
        <p:nvSpPr>
          <p:cNvPr id="17" name="Marcador de texto 16">
            <a:extLst>
              <a:ext uri="{FF2B5EF4-FFF2-40B4-BE49-F238E27FC236}">
                <a16:creationId xmlns:a16="http://schemas.microsoft.com/office/drawing/2014/main" id="{26879584-3251-3AF8-5DFD-00ADC01160FA}"/>
              </a:ext>
            </a:extLst>
          </p:cNvPr>
          <p:cNvSpPr>
            <a:spLocks noGrp="1"/>
          </p:cNvSpPr>
          <p:nvPr>
            <p:ph type="body" sz="quarter" idx="11"/>
          </p:nvPr>
        </p:nvSpPr>
        <p:spPr>
          <a:xfrm>
            <a:off x="333375" y="433964"/>
            <a:ext cx="4497243" cy="859126"/>
          </a:xfrm>
          <a:prstGeom prst="rect">
            <a:avLst/>
          </a:prstGeom>
        </p:spPr>
        <p:txBody>
          <a:bodyPr/>
          <a:lstStyle>
            <a:lvl1pPr marL="0" indent="0" rtl="0">
              <a:buNone/>
              <a:defRPr sz="3400" b="1">
                <a:solidFill>
                  <a:srgbClr val="014B7F"/>
                </a:solidFill>
                <a:latin typeface="Poppins" panose="00000500000000000000" pitchFamily="2" charset="0"/>
                <a:cs typeface="Poppins" panose="00000500000000000000" pitchFamily="2" charset="0"/>
              </a:defRPr>
            </a:lvl1pPr>
            <a:lvl2pPr marL="457200" indent="0">
              <a:buNone/>
              <a:defRPr/>
            </a:lvl2pPr>
          </a:lstStyle>
          <a:p>
            <a:pPr lvl="0"/>
            <a:r>
              <a:rPr lang="es-ES" dirty="0"/>
              <a:t>Haga clic para modificar los estilos de texto del patrón</a:t>
            </a:r>
          </a:p>
        </p:txBody>
      </p:sp>
      <p:sp>
        <p:nvSpPr>
          <p:cNvPr id="22" name="Marcador de texto 21">
            <a:extLst>
              <a:ext uri="{FF2B5EF4-FFF2-40B4-BE49-F238E27FC236}">
                <a16:creationId xmlns:a16="http://schemas.microsoft.com/office/drawing/2014/main" id="{22892C1F-EB36-025D-CAC3-76CCD836257D}"/>
              </a:ext>
            </a:extLst>
          </p:cNvPr>
          <p:cNvSpPr>
            <a:spLocks noGrp="1"/>
          </p:cNvSpPr>
          <p:nvPr>
            <p:ph type="body" sz="quarter" idx="12" hasCustomPrompt="1"/>
          </p:nvPr>
        </p:nvSpPr>
        <p:spPr>
          <a:xfrm>
            <a:off x="1097804" y="1449622"/>
            <a:ext cx="5875536" cy="4380229"/>
          </a:xfrm>
          <a:prstGeom prst="rect">
            <a:avLst/>
          </a:prstGeom>
        </p:spPr>
        <p:txBody>
          <a:bodyPr/>
          <a:lstStyle>
            <a:lvl1pPr marL="0" indent="0">
              <a:buNone/>
              <a:defRPr sz="1100">
                <a:solidFill>
                  <a:schemeClr val="tx1">
                    <a:lumMod val="65000"/>
                    <a:lumOff val="35000"/>
                  </a:schemeClr>
                </a:solidFill>
                <a:latin typeface="Poppins" panose="00000500000000000000" pitchFamily="2" charset="0"/>
                <a:cs typeface="Poppins" panose="00000500000000000000" pitchFamily="2" charset="0"/>
              </a:defRPr>
            </a:lvl1pPr>
          </a:lstStyle>
          <a:p>
            <a:pPr lvl="0"/>
            <a:r>
              <a:rPr lang="es-MX" dirty="0"/>
              <a:t>Cuerpo de texto</a:t>
            </a:r>
          </a:p>
        </p:txBody>
      </p:sp>
      <p:sp>
        <p:nvSpPr>
          <p:cNvPr id="24" name="Marcador de texto 23">
            <a:extLst>
              <a:ext uri="{FF2B5EF4-FFF2-40B4-BE49-F238E27FC236}">
                <a16:creationId xmlns:a16="http://schemas.microsoft.com/office/drawing/2014/main" id="{5A5A4F13-CC8F-13CA-39F0-1500AF3F0AB8}"/>
              </a:ext>
            </a:extLst>
          </p:cNvPr>
          <p:cNvSpPr>
            <a:spLocks noGrp="1"/>
          </p:cNvSpPr>
          <p:nvPr>
            <p:ph type="body" sz="quarter" idx="13" hasCustomPrompt="1"/>
          </p:nvPr>
        </p:nvSpPr>
        <p:spPr>
          <a:xfrm>
            <a:off x="1098550" y="1224246"/>
            <a:ext cx="5875338" cy="384175"/>
          </a:xfrm>
          <a:prstGeom prst="rect">
            <a:avLst/>
          </a:prstGeom>
        </p:spPr>
        <p:txBody>
          <a:bodyPr/>
          <a:lstStyle>
            <a:lvl1pPr marL="0" indent="0">
              <a:buNone/>
              <a:defRPr sz="1100" b="1">
                <a:solidFill>
                  <a:srgbClr val="014B7F"/>
                </a:solidFill>
                <a:latin typeface="Poppins" panose="00000500000000000000" pitchFamily="2" charset="0"/>
                <a:cs typeface="Poppins" panose="00000500000000000000" pitchFamily="2" charset="0"/>
              </a:defRPr>
            </a:lvl1pPr>
          </a:lstStyle>
          <a:p>
            <a:pPr lvl="0"/>
            <a:r>
              <a:rPr lang="es-MX" dirty="0"/>
              <a:t>SUBTÍTULO</a:t>
            </a:r>
          </a:p>
        </p:txBody>
      </p:sp>
      <p:pic>
        <p:nvPicPr>
          <p:cNvPr id="5" name="Gráfico 4">
            <a:extLst>
              <a:ext uri="{FF2B5EF4-FFF2-40B4-BE49-F238E27FC236}">
                <a16:creationId xmlns:a16="http://schemas.microsoft.com/office/drawing/2014/main" id="{DCACFC9C-B0CD-1888-BAF0-375FC52EB91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33375" y="5971022"/>
            <a:ext cx="1697312" cy="789447"/>
          </a:xfrm>
          <a:prstGeom prst="rect">
            <a:avLst/>
          </a:prstGeom>
        </p:spPr>
      </p:pic>
    </p:spTree>
    <p:extLst>
      <p:ext uri="{BB962C8B-B14F-4D97-AF65-F5344CB8AC3E}">
        <p14:creationId xmlns:p14="http://schemas.microsoft.com/office/powerpoint/2010/main" val="36090730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ext with icon_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9B35AC-F2C8-51F4-16DC-FB35CF8D0DCD}"/>
              </a:ext>
            </a:extLst>
          </p:cNvPr>
          <p:cNvSpPr/>
          <p:nvPr userDrawn="1"/>
        </p:nvSpPr>
        <p:spPr>
          <a:xfrm>
            <a:off x="0" y="3429000"/>
            <a:ext cx="12192000" cy="3429000"/>
          </a:xfrm>
          <a:prstGeom prst="rect">
            <a:avLst/>
          </a:prstGeom>
          <a:solidFill>
            <a:srgbClr val="F1F1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2">
            <a:extLst>
              <a:ext uri="{FF2B5EF4-FFF2-40B4-BE49-F238E27FC236}">
                <a16:creationId xmlns:a16="http://schemas.microsoft.com/office/drawing/2014/main" id="{93407B19-2470-8225-721D-9D48852D2291}"/>
              </a:ext>
            </a:extLst>
          </p:cNvPr>
          <p:cNvSpPr>
            <a:spLocks noGrp="1"/>
          </p:cNvSpPr>
          <p:nvPr>
            <p:ph type="body" sz="quarter" idx="10" hasCustomPrompt="1"/>
          </p:nvPr>
        </p:nvSpPr>
        <p:spPr>
          <a:xfrm>
            <a:off x="550862" y="613507"/>
            <a:ext cx="11090275" cy="369332"/>
          </a:xfrm>
        </p:spPr>
        <p:txBody>
          <a:bodyPr lIns="0" tIns="0" rIns="0" bIns="0" anchor="b">
            <a:noAutofit/>
          </a:bodyPr>
          <a:lstStyle>
            <a:lvl1pPr marL="0" indent="0">
              <a:lnSpc>
                <a:spcPct val="100000"/>
              </a:lnSpc>
              <a:spcBef>
                <a:spcPts val="0"/>
              </a:spcBef>
              <a:buFont typeface="Arial" panose="020B0604020202020204" pitchFamily="34" charset="0"/>
              <a:buNone/>
              <a:defRPr sz="2800" b="1">
                <a:solidFill>
                  <a:schemeClr val="tx2"/>
                </a:solidFill>
                <a:latin typeface="+mj-lt"/>
              </a:defRPr>
            </a:lvl1pPr>
          </a:lstStyle>
          <a:p>
            <a:pPr lvl="0"/>
            <a:r>
              <a:rPr lang="en-US"/>
              <a:t>Text with icon</a:t>
            </a:r>
          </a:p>
        </p:txBody>
      </p:sp>
      <p:sp>
        <p:nvSpPr>
          <p:cNvPr id="12" name="Slide Number Placeholder 5">
            <a:extLst>
              <a:ext uri="{FF2B5EF4-FFF2-40B4-BE49-F238E27FC236}">
                <a16:creationId xmlns:a16="http://schemas.microsoft.com/office/drawing/2014/main" id="{E399722A-98DF-32E8-5755-E851D0C5DF4D}"/>
              </a:ext>
            </a:extLst>
          </p:cNvPr>
          <p:cNvSpPr>
            <a:spLocks noGrp="1"/>
          </p:cNvSpPr>
          <p:nvPr>
            <p:ph type="sldNum" sz="quarter" idx="4"/>
          </p:nvPr>
        </p:nvSpPr>
        <p:spPr>
          <a:xfrm>
            <a:off x="11087100" y="6564440"/>
            <a:ext cx="554038" cy="138499"/>
          </a:xfrm>
          <a:prstGeom prst="rect">
            <a:avLst/>
          </a:prstGeom>
        </p:spPr>
        <p:txBody>
          <a:bodyPr wrap="square" lIns="0" tIns="0" rIns="0" bIns="0" anchor="ctr">
            <a:normAutofit/>
          </a:bodyPr>
          <a:lstStyle>
            <a:lvl1pPr algn="r">
              <a:defRPr sz="900">
                <a:solidFill>
                  <a:schemeClr val="tx1"/>
                </a:solidFill>
              </a:defRPr>
            </a:lvl1pPr>
          </a:lstStyle>
          <a:p>
            <a:fld id="{0E88EC54-15BE-9740-A323-DA3E96F2F863}" type="slidenum">
              <a:rPr lang="en-US" smtClean="0"/>
              <a:pPr/>
              <a:t>‹#›</a:t>
            </a:fld>
            <a:endParaRPr lang="en-US"/>
          </a:p>
        </p:txBody>
      </p:sp>
      <p:sp>
        <p:nvSpPr>
          <p:cNvPr id="4" name="Text Placeholder 68">
            <a:extLst>
              <a:ext uri="{FF2B5EF4-FFF2-40B4-BE49-F238E27FC236}">
                <a16:creationId xmlns:a16="http://schemas.microsoft.com/office/drawing/2014/main" id="{A3D09E1F-3711-1208-FAD2-6886C3A392DB}"/>
              </a:ext>
            </a:extLst>
          </p:cNvPr>
          <p:cNvSpPr>
            <a:spLocks noGrp="1"/>
          </p:cNvSpPr>
          <p:nvPr>
            <p:ph type="body" sz="quarter" idx="13" hasCustomPrompt="1"/>
          </p:nvPr>
        </p:nvSpPr>
        <p:spPr>
          <a:xfrm>
            <a:off x="550861" y="1677215"/>
            <a:ext cx="11090275" cy="1547517"/>
          </a:xfrm>
        </p:spPr>
        <p:txBody>
          <a:bodyPr wrap="square" lIns="0" tIns="0" rIns="0" bIns="0" anchor="t">
            <a:normAutofit/>
          </a:bodyPr>
          <a:lstStyle>
            <a:lvl1pPr marL="0" indent="0">
              <a:lnSpc>
                <a:spcPct val="100000"/>
              </a:lnSpc>
              <a:spcBef>
                <a:spcPts val="0"/>
              </a:spcBef>
              <a:buNone/>
              <a:defRPr sz="1400" b="0">
                <a:solidFill>
                  <a:schemeClr val="tx1"/>
                </a:solidFill>
                <a:latin typeface="+mn-lt"/>
              </a:defRPr>
            </a:lvl1pPr>
          </a:lstStyle>
          <a:p>
            <a:pPr lvl="0"/>
            <a:r>
              <a:rPr lang="en-US"/>
              <a:t>Click to add text</a:t>
            </a:r>
          </a:p>
        </p:txBody>
      </p:sp>
      <p:sp>
        <p:nvSpPr>
          <p:cNvPr id="6" name="Text Placeholder 68">
            <a:extLst>
              <a:ext uri="{FF2B5EF4-FFF2-40B4-BE49-F238E27FC236}">
                <a16:creationId xmlns:a16="http://schemas.microsoft.com/office/drawing/2014/main" id="{3210A2A2-9624-9912-B44A-BADA5822A431}"/>
              </a:ext>
            </a:extLst>
          </p:cNvPr>
          <p:cNvSpPr>
            <a:spLocks noGrp="1"/>
          </p:cNvSpPr>
          <p:nvPr>
            <p:ph type="body" sz="quarter" idx="14" hasCustomPrompt="1"/>
          </p:nvPr>
        </p:nvSpPr>
        <p:spPr>
          <a:xfrm>
            <a:off x="550861" y="4420186"/>
            <a:ext cx="3048000" cy="1996489"/>
          </a:xfrm>
        </p:spPr>
        <p:txBody>
          <a:bodyPr wrap="square" lIns="0" tIns="0" rIns="0" bIns="0" anchor="t">
            <a:normAutofit/>
          </a:bodyPr>
          <a:lstStyle>
            <a:lvl1pPr marL="0" indent="0">
              <a:lnSpc>
                <a:spcPct val="100000"/>
              </a:lnSpc>
              <a:spcBef>
                <a:spcPts val="0"/>
              </a:spcBef>
              <a:buNone/>
              <a:defRPr sz="1400" b="0">
                <a:solidFill>
                  <a:schemeClr val="tx1"/>
                </a:solidFill>
                <a:latin typeface="+mn-lt"/>
              </a:defRPr>
            </a:lvl1pPr>
          </a:lstStyle>
          <a:p>
            <a:pPr lvl="0"/>
            <a:r>
              <a:rPr lang="en-US"/>
              <a:t>Click to add text</a:t>
            </a:r>
          </a:p>
        </p:txBody>
      </p:sp>
      <p:sp>
        <p:nvSpPr>
          <p:cNvPr id="11" name="Text Placeholder 68">
            <a:extLst>
              <a:ext uri="{FF2B5EF4-FFF2-40B4-BE49-F238E27FC236}">
                <a16:creationId xmlns:a16="http://schemas.microsoft.com/office/drawing/2014/main" id="{4F6A8CCD-CC33-0F47-4267-DE18AC36C608}"/>
              </a:ext>
            </a:extLst>
          </p:cNvPr>
          <p:cNvSpPr>
            <a:spLocks noGrp="1"/>
          </p:cNvSpPr>
          <p:nvPr>
            <p:ph type="body" sz="quarter" idx="15" hasCustomPrompt="1"/>
          </p:nvPr>
        </p:nvSpPr>
        <p:spPr>
          <a:xfrm>
            <a:off x="4576751" y="4420186"/>
            <a:ext cx="3048000" cy="1996489"/>
          </a:xfrm>
        </p:spPr>
        <p:txBody>
          <a:bodyPr wrap="square" lIns="0" tIns="0" rIns="0" bIns="0" anchor="t">
            <a:normAutofit/>
          </a:bodyPr>
          <a:lstStyle>
            <a:lvl1pPr marL="0" indent="0">
              <a:lnSpc>
                <a:spcPct val="100000"/>
              </a:lnSpc>
              <a:spcBef>
                <a:spcPts val="0"/>
              </a:spcBef>
              <a:buNone/>
              <a:defRPr sz="1400" b="0">
                <a:solidFill>
                  <a:schemeClr val="tx1"/>
                </a:solidFill>
                <a:latin typeface="+mn-lt"/>
              </a:defRPr>
            </a:lvl1pPr>
          </a:lstStyle>
          <a:p>
            <a:pPr lvl="0"/>
            <a:r>
              <a:rPr lang="en-US"/>
              <a:t>Click to add text</a:t>
            </a:r>
          </a:p>
        </p:txBody>
      </p:sp>
      <p:sp>
        <p:nvSpPr>
          <p:cNvPr id="16" name="Text Placeholder 68">
            <a:extLst>
              <a:ext uri="{FF2B5EF4-FFF2-40B4-BE49-F238E27FC236}">
                <a16:creationId xmlns:a16="http://schemas.microsoft.com/office/drawing/2014/main" id="{A6ED11EE-4B00-948E-7C44-7F6423275AA4}"/>
              </a:ext>
            </a:extLst>
          </p:cNvPr>
          <p:cNvSpPr>
            <a:spLocks noGrp="1"/>
          </p:cNvSpPr>
          <p:nvPr>
            <p:ph type="body" sz="quarter" idx="16" hasCustomPrompt="1"/>
          </p:nvPr>
        </p:nvSpPr>
        <p:spPr>
          <a:xfrm>
            <a:off x="8580624" y="4420186"/>
            <a:ext cx="3048000" cy="1996489"/>
          </a:xfrm>
        </p:spPr>
        <p:txBody>
          <a:bodyPr wrap="square" lIns="0" tIns="0" rIns="0" bIns="0" anchor="t">
            <a:normAutofit/>
          </a:bodyPr>
          <a:lstStyle>
            <a:lvl1pPr marL="0" indent="0">
              <a:lnSpc>
                <a:spcPct val="100000"/>
              </a:lnSpc>
              <a:spcBef>
                <a:spcPts val="0"/>
              </a:spcBef>
              <a:buNone/>
              <a:defRPr sz="1400" b="0">
                <a:solidFill>
                  <a:schemeClr val="tx1"/>
                </a:solidFill>
                <a:latin typeface="+mn-lt"/>
              </a:defRPr>
            </a:lvl1pPr>
          </a:lstStyle>
          <a:p>
            <a:pPr lvl="0"/>
            <a:r>
              <a:rPr lang="en-US"/>
              <a:t>Click to add text</a:t>
            </a:r>
          </a:p>
        </p:txBody>
      </p:sp>
      <p:sp>
        <p:nvSpPr>
          <p:cNvPr id="5" name="Text Placeholder 2">
            <a:extLst>
              <a:ext uri="{FF2B5EF4-FFF2-40B4-BE49-F238E27FC236}">
                <a16:creationId xmlns:a16="http://schemas.microsoft.com/office/drawing/2014/main" id="{83F3E7F2-5829-7388-127D-472489B58D57}"/>
              </a:ext>
            </a:extLst>
          </p:cNvPr>
          <p:cNvSpPr>
            <a:spLocks noGrp="1"/>
          </p:cNvSpPr>
          <p:nvPr>
            <p:ph type="body" sz="quarter" idx="11" hasCustomPrompt="1"/>
          </p:nvPr>
        </p:nvSpPr>
        <p:spPr>
          <a:xfrm>
            <a:off x="550862" y="1116917"/>
            <a:ext cx="11090275" cy="246221"/>
          </a:xfrm>
        </p:spPr>
        <p:txBody>
          <a:bodyPr lIns="0" tIns="0" rIns="0" bIns="0" anchor="t">
            <a:noAutofit/>
          </a:bodyPr>
          <a:lstStyle>
            <a:lvl1pPr marL="0" indent="0">
              <a:lnSpc>
                <a:spcPct val="100000"/>
              </a:lnSpc>
              <a:spcBef>
                <a:spcPts val="0"/>
              </a:spcBef>
              <a:buNone/>
              <a:defRPr sz="1800" b="0">
                <a:solidFill>
                  <a:schemeClr val="tx2"/>
                </a:solidFill>
              </a:defRPr>
            </a:lvl1pPr>
          </a:lstStyle>
          <a:p>
            <a:pPr lvl="0"/>
            <a:r>
              <a:rPr lang="en-US"/>
              <a:t>Subtitle</a:t>
            </a:r>
          </a:p>
        </p:txBody>
      </p:sp>
      <p:pic>
        <p:nvPicPr>
          <p:cNvPr id="2" name="Graphic 1">
            <a:extLst>
              <a:ext uri="{FF2B5EF4-FFF2-40B4-BE49-F238E27FC236}">
                <a16:creationId xmlns:a16="http://schemas.microsoft.com/office/drawing/2014/main" id="{37F77AE4-99DD-04DC-3B57-6B4383CA7FC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95317" y="-62632"/>
            <a:ext cx="1584960" cy="894079"/>
          </a:xfrm>
          <a:prstGeom prst="rect">
            <a:avLst/>
          </a:prstGeom>
        </p:spPr>
      </p:pic>
      <p:sp>
        <p:nvSpPr>
          <p:cNvPr id="8" name="Text Placeholder 68">
            <a:extLst>
              <a:ext uri="{FF2B5EF4-FFF2-40B4-BE49-F238E27FC236}">
                <a16:creationId xmlns:a16="http://schemas.microsoft.com/office/drawing/2014/main" id="{FBAD00F7-2EBD-F007-3618-C0F088DF9F33}"/>
              </a:ext>
            </a:extLst>
          </p:cNvPr>
          <p:cNvSpPr>
            <a:spLocks noGrp="1"/>
          </p:cNvSpPr>
          <p:nvPr>
            <p:ph type="body" sz="quarter" idx="19" hasCustomPrompt="1"/>
          </p:nvPr>
        </p:nvSpPr>
        <p:spPr>
          <a:xfrm>
            <a:off x="550862" y="4014769"/>
            <a:ext cx="3048000" cy="307777"/>
          </a:xfrm>
        </p:spPr>
        <p:txBody>
          <a:bodyPr wrap="square" lIns="0" tIns="0" rIns="0" bIns="0" anchor="t">
            <a:normAutofit/>
          </a:bodyPr>
          <a:lstStyle>
            <a:lvl1pPr marL="0" indent="0" algn="l">
              <a:lnSpc>
                <a:spcPct val="100000"/>
              </a:lnSpc>
              <a:spcBef>
                <a:spcPts val="0"/>
              </a:spcBef>
              <a:buNone/>
              <a:defRPr sz="1600" b="0">
                <a:solidFill>
                  <a:schemeClr val="accent1"/>
                </a:solidFill>
                <a:latin typeface="+mj-lt"/>
              </a:defRPr>
            </a:lvl1pPr>
          </a:lstStyle>
          <a:p>
            <a:pPr lvl="0"/>
            <a:r>
              <a:rPr lang="en-US"/>
              <a:t>Click to add text</a:t>
            </a:r>
          </a:p>
        </p:txBody>
      </p:sp>
      <p:sp>
        <p:nvSpPr>
          <p:cNvPr id="9" name="Text Placeholder 68">
            <a:extLst>
              <a:ext uri="{FF2B5EF4-FFF2-40B4-BE49-F238E27FC236}">
                <a16:creationId xmlns:a16="http://schemas.microsoft.com/office/drawing/2014/main" id="{D476A140-9A51-F0EC-D0CB-D59F6FCAB4CD}"/>
              </a:ext>
            </a:extLst>
          </p:cNvPr>
          <p:cNvSpPr>
            <a:spLocks noGrp="1"/>
          </p:cNvSpPr>
          <p:nvPr>
            <p:ph type="body" sz="quarter" idx="20" hasCustomPrompt="1"/>
          </p:nvPr>
        </p:nvSpPr>
        <p:spPr>
          <a:xfrm>
            <a:off x="4576751" y="4014769"/>
            <a:ext cx="3048000" cy="307777"/>
          </a:xfrm>
        </p:spPr>
        <p:txBody>
          <a:bodyPr wrap="square" lIns="0" tIns="0" rIns="0" bIns="0" anchor="t">
            <a:normAutofit/>
          </a:bodyPr>
          <a:lstStyle>
            <a:lvl1pPr marL="0" indent="0" algn="l">
              <a:lnSpc>
                <a:spcPct val="100000"/>
              </a:lnSpc>
              <a:spcBef>
                <a:spcPts val="0"/>
              </a:spcBef>
              <a:buNone/>
              <a:defRPr sz="1600" b="0">
                <a:solidFill>
                  <a:schemeClr val="accent4"/>
                </a:solidFill>
                <a:latin typeface="+mj-lt"/>
              </a:defRPr>
            </a:lvl1pPr>
          </a:lstStyle>
          <a:p>
            <a:pPr lvl="0"/>
            <a:r>
              <a:rPr lang="en-US"/>
              <a:t>Click to add text</a:t>
            </a:r>
          </a:p>
        </p:txBody>
      </p:sp>
      <p:sp>
        <p:nvSpPr>
          <p:cNvPr id="10" name="Text Placeholder 68">
            <a:extLst>
              <a:ext uri="{FF2B5EF4-FFF2-40B4-BE49-F238E27FC236}">
                <a16:creationId xmlns:a16="http://schemas.microsoft.com/office/drawing/2014/main" id="{22364393-AD4D-52A4-F62B-C57CAFDEA92C}"/>
              </a:ext>
            </a:extLst>
          </p:cNvPr>
          <p:cNvSpPr>
            <a:spLocks noGrp="1"/>
          </p:cNvSpPr>
          <p:nvPr>
            <p:ph type="body" sz="quarter" idx="21" hasCustomPrompt="1"/>
          </p:nvPr>
        </p:nvSpPr>
        <p:spPr>
          <a:xfrm>
            <a:off x="8580624" y="4014769"/>
            <a:ext cx="3048000" cy="307777"/>
          </a:xfrm>
        </p:spPr>
        <p:txBody>
          <a:bodyPr wrap="square" lIns="0" tIns="0" rIns="0" bIns="0" anchor="t">
            <a:normAutofit/>
          </a:bodyPr>
          <a:lstStyle>
            <a:lvl1pPr marL="0" indent="0" algn="l">
              <a:lnSpc>
                <a:spcPct val="100000"/>
              </a:lnSpc>
              <a:spcBef>
                <a:spcPts val="0"/>
              </a:spcBef>
              <a:buNone/>
              <a:defRPr sz="1600" b="0">
                <a:solidFill>
                  <a:schemeClr val="tx1"/>
                </a:solidFill>
                <a:latin typeface="+mj-lt"/>
              </a:defRPr>
            </a:lvl1pPr>
          </a:lstStyle>
          <a:p>
            <a:pPr lvl="0"/>
            <a:r>
              <a:rPr lang="en-US"/>
              <a:t>Click to add text</a:t>
            </a:r>
          </a:p>
        </p:txBody>
      </p:sp>
      <p:sp>
        <p:nvSpPr>
          <p:cNvPr id="13" name="TextBox 12">
            <a:extLst>
              <a:ext uri="{FF2B5EF4-FFF2-40B4-BE49-F238E27FC236}">
                <a16:creationId xmlns:a16="http://schemas.microsoft.com/office/drawing/2014/main" id="{60CDD78F-23C3-5F57-00BF-5801DBBB6A71}"/>
              </a:ext>
            </a:extLst>
          </p:cNvPr>
          <p:cNvSpPr txBox="1"/>
          <p:nvPr userDrawn="1"/>
        </p:nvSpPr>
        <p:spPr>
          <a:xfrm>
            <a:off x="550863" y="6564440"/>
            <a:ext cx="6429645" cy="138499"/>
          </a:xfrm>
          <a:prstGeom prst="rect">
            <a:avLst/>
          </a:prstGeom>
          <a:noFill/>
        </p:spPr>
        <p:txBody>
          <a:bodyPr wrap="none" lIns="0" tIns="0" rIns="0" bIns="0" rtlCol="0" anchor="ctr">
            <a:normAutofit/>
          </a:bodyPr>
          <a:lstStyle/>
          <a:p>
            <a:r>
              <a:rPr lang="en-US" sz="900" b="0" i="0" u="none" strike="noStrike" baseline="0">
                <a:solidFill>
                  <a:schemeClr val="tx1"/>
                </a:solidFill>
                <a:effectLst/>
                <a:latin typeface="+mn-lt"/>
                <a:ea typeface="Urbanist Medium" panose="020B0A04040200000203" pitchFamily="34" charset="77"/>
                <a:cs typeface="Urbanist Medium" panose="020B0A04040200000203" pitchFamily="34" charset="77"/>
              </a:rPr>
              <a:t>© 2024 Interval International – Confidential and Proprietary.  Unauthorized copying, distribution, disclosure or use is prohibited.  </a:t>
            </a:r>
          </a:p>
        </p:txBody>
      </p:sp>
    </p:spTree>
    <p:extLst>
      <p:ext uri="{BB962C8B-B14F-4D97-AF65-F5344CB8AC3E}">
        <p14:creationId xmlns:p14="http://schemas.microsoft.com/office/powerpoint/2010/main" val="37759675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ext with icon_2">
    <p:spTree>
      <p:nvGrpSpPr>
        <p:cNvPr id="1" name=""/>
        <p:cNvGrpSpPr/>
        <p:nvPr/>
      </p:nvGrpSpPr>
      <p:grpSpPr>
        <a:xfrm>
          <a:off x="0" y="0"/>
          <a:ext cx="0" cy="0"/>
          <a:chOff x="0" y="0"/>
          <a:chExt cx="0" cy="0"/>
        </a:xfrm>
      </p:grpSpPr>
      <p:sp>
        <p:nvSpPr>
          <p:cNvPr id="4" name="Freeform 7">
            <a:extLst>
              <a:ext uri="{FF2B5EF4-FFF2-40B4-BE49-F238E27FC236}">
                <a16:creationId xmlns:a16="http://schemas.microsoft.com/office/drawing/2014/main" id="{DD2064EB-07FE-09E0-E145-CBAC93706A9E}"/>
              </a:ext>
            </a:extLst>
          </p:cNvPr>
          <p:cNvSpPr/>
          <p:nvPr userDrawn="1"/>
        </p:nvSpPr>
        <p:spPr>
          <a:xfrm>
            <a:off x="7010400" y="315"/>
            <a:ext cx="5181600" cy="6857685"/>
          </a:xfrm>
          <a:custGeom>
            <a:avLst/>
            <a:gdLst>
              <a:gd name="connsiteX0" fmla="*/ 3575797 w 3575796"/>
              <a:gd name="connsiteY0" fmla="*/ 3577686 h 4732454"/>
              <a:gd name="connsiteX1" fmla="*/ 3575797 w 3575796"/>
              <a:gd name="connsiteY1" fmla="*/ 3577686 h 4732454"/>
              <a:gd name="connsiteX2" fmla="*/ 0 w 3575796"/>
              <a:gd name="connsiteY2" fmla="*/ 0 h 4732454"/>
              <a:gd name="connsiteX3" fmla="*/ 0 w 3575796"/>
              <a:gd name="connsiteY3" fmla="*/ 0 h 4732454"/>
              <a:gd name="connsiteX4" fmla="*/ 3575797 w 3575796"/>
              <a:gd name="connsiteY4" fmla="*/ 0 h 4732454"/>
              <a:gd name="connsiteX5" fmla="*/ 3575797 w 3575796"/>
              <a:gd name="connsiteY5" fmla="*/ 3577686 h 4732454"/>
              <a:gd name="connsiteX6" fmla="*/ 3575797 w 3575796"/>
              <a:gd name="connsiteY6" fmla="*/ 3577686 h 4732454"/>
              <a:gd name="connsiteX7" fmla="*/ 0 w 3575796"/>
              <a:gd name="connsiteY7" fmla="*/ 3577686 h 4732454"/>
              <a:gd name="connsiteX8" fmla="*/ 0 w 3575796"/>
              <a:gd name="connsiteY8" fmla="*/ 4732454 h 4732454"/>
              <a:gd name="connsiteX9" fmla="*/ 3575797 w 3575796"/>
              <a:gd name="connsiteY9" fmla="*/ 4732454 h 4732454"/>
              <a:gd name="connsiteX10" fmla="*/ 3575797 w 3575796"/>
              <a:gd name="connsiteY10" fmla="*/ 3577686 h 473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75796" h="4732454">
                <a:moveTo>
                  <a:pt x="3575797" y="3577686"/>
                </a:moveTo>
                <a:lnTo>
                  <a:pt x="3575797" y="3577686"/>
                </a:lnTo>
                <a:cubicBezTo>
                  <a:pt x="1600671" y="3577686"/>
                  <a:pt x="0" y="1975553"/>
                  <a:pt x="0" y="0"/>
                </a:cubicBezTo>
                <a:lnTo>
                  <a:pt x="0" y="0"/>
                </a:lnTo>
                <a:lnTo>
                  <a:pt x="3575797" y="0"/>
                </a:lnTo>
                <a:lnTo>
                  <a:pt x="3575797" y="3577686"/>
                </a:lnTo>
                <a:close/>
                <a:moveTo>
                  <a:pt x="3575797" y="3577686"/>
                </a:moveTo>
                <a:lnTo>
                  <a:pt x="0" y="3577686"/>
                </a:lnTo>
                <a:lnTo>
                  <a:pt x="0" y="4732454"/>
                </a:lnTo>
                <a:lnTo>
                  <a:pt x="3575797" y="4732454"/>
                </a:lnTo>
                <a:lnTo>
                  <a:pt x="3575797" y="3577686"/>
                </a:lnTo>
                <a:close/>
              </a:path>
            </a:pathLst>
          </a:custGeom>
          <a:solidFill>
            <a:schemeClr val="accent3">
              <a:alpha val="40079"/>
            </a:schemeClr>
          </a:solidFill>
          <a:ln w="19050" cap="flat">
            <a:noFill/>
            <a:prstDash val="solid"/>
            <a:miter/>
          </a:ln>
        </p:spPr>
        <p:txBody>
          <a:bodyPr rtlCol="0" anchor="ctr"/>
          <a:lstStyle/>
          <a:p>
            <a:endParaRPr lang="en-US"/>
          </a:p>
        </p:txBody>
      </p:sp>
      <p:sp>
        <p:nvSpPr>
          <p:cNvPr id="12" name="Slide Number Placeholder 5">
            <a:extLst>
              <a:ext uri="{FF2B5EF4-FFF2-40B4-BE49-F238E27FC236}">
                <a16:creationId xmlns:a16="http://schemas.microsoft.com/office/drawing/2014/main" id="{E399722A-98DF-32E8-5755-E851D0C5DF4D}"/>
              </a:ext>
            </a:extLst>
          </p:cNvPr>
          <p:cNvSpPr>
            <a:spLocks noGrp="1"/>
          </p:cNvSpPr>
          <p:nvPr>
            <p:ph type="sldNum" sz="quarter" idx="4"/>
          </p:nvPr>
        </p:nvSpPr>
        <p:spPr>
          <a:xfrm>
            <a:off x="11087100" y="6564440"/>
            <a:ext cx="554038" cy="138499"/>
          </a:xfrm>
          <a:prstGeom prst="rect">
            <a:avLst/>
          </a:prstGeom>
        </p:spPr>
        <p:txBody>
          <a:bodyPr wrap="square" lIns="0" tIns="0" rIns="0" bIns="0" anchor="ctr">
            <a:normAutofit/>
          </a:bodyPr>
          <a:lstStyle>
            <a:lvl1pPr algn="r">
              <a:defRPr sz="900">
                <a:solidFill>
                  <a:schemeClr val="tx1"/>
                </a:solidFill>
              </a:defRPr>
            </a:lvl1pPr>
          </a:lstStyle>
          <a:p>
            <a:fld id="{0E88EC54-15BE-9740-A323-DA3E96F2F863}" type="slidenum">
              <a:rPr lang="en-US" smtClean="0"/>
              <a:pPr/>
              <a:t>‹#›</a:t>
            </a:fld>
            <a:endParaRPr lang="en-US"/>
          </a:p>
        </p:txBody>
      </p:sp>
      <p:sp>
        <p:nvSpPr>
          <p:cNvPr id="19" name="Text Placeholder 68">
            <a:extLst>
              <a:ext uri="{FF2B5EF4-FFF2-40B4-BE49-F238E27FC236}">
                <a16:creationId xmlns:a16="http://schemas.microsoft.com/office/drawing/2014/main" id="{F2CCBE67-609C-523F-0D75-BF47A4837BDA}"/>
              </a:ext>
            </a:extLst>
          </p:cNvPr>
          <p:cNvSpPr>
            <a:spLocks noGrp="1"/>
          </p:cNvSpPr>
          <p:nvPr>
            <p:ph type="body" sz="quarter" idx="14" hasCustomPrompt="1"/>
          </p:nvPr>
        </p:nvSpPr>
        <p:spPr>
          <a:xfrm>
            <a:off x="550862" y="2695980"/>
            <a:ext cx="2665413" cy="1097280"/>
          </a:xfrm>
        </p:spPr>
        <p:txBody>
          <a:bodyPr wrap="square" lIns="0" tIns="0" rIns="0" bIns="0" anchor="t">
            <a:normAutofit/>
          </a:bodyPr>
          <a:lstStyle>
            <a:lvl1pPr marL="0" indent="0">
              <a:lnSpc>
                <a:spcPct val="100000"/>
              </a:lnSpc>
              <a:spcBef>
                <a:spcPts val="0"/>
              </a:spcBef>
              <a:buNone/>
              <a:defRPr sz="1400" b="0">
                <a:solidFill>
                  <a:schemeClr val="tx1"/>
                </a:solidFill>
                <a:latin typeface="+mn-lt"/>
              </a:defRPr>
            </a:lvl1pPr>
          </a:lstStyle>
          <a:p>
            <a:pPr lvl="0"/>
            <a:r>
              <a:rPr lang="en-US"/>
              <a:t>Click to add text</a:t>
            </a:r>
          </a:p>
        </p:txBody>
      </p:sp>
      <p:sp>
        <p:nvSpPr>
          <p:cNvPr id="20" name="Text Placeholder 68">
            <a:extLst>
              <a:ext uri="{FF2B5EF4-FFF2-40B4-BE49-F238E27FC236}">
                <a16:creationId xmlns:a16="http://schemas.microsoft.com/office/drawing/2014/main" id="{76A1D19C-72C3-871C-D028-AC19C756647E}"/>
              </a:ext>
            </a:extLst>
          </p:cNvPr>
          <p:cNvSpPr>
            <a:spLocks noGrp="1"/>
          </p:cNvSpPr>
          <p:nvPr>
            <p:ph type="body" sz="quarter" idx="15" hasCustomPrompt="1"/>
          </p:nvPr>
        </p:nvSpPr>
        <p:spPr>
          <a:xfrm>
            <a:off x="3971817" y="2695980"/>
            <a:ext cx="2665413" cy="1097280"/>
          </a:xfrm>
        </p:spPr>
        <p:txBody>
          <a:bodyPr wrap="square" lIns="0" tIns="0" rIns="0" bIns="0" anchor="t">
            <a:normAutofit/>
          </a:bodyPr>
          <a:lstStyle>
            <a:lvl1pPr marL="0" indent="0">
              <a:lnSpc>
                <a:spcPct val="100000"/>
              </a:lnSpc>
              <a:spcBef>
                <a:spcPts val="0"/>
              </a:spcBef>
              <a:buNone/>
              <a:defRPr sz="1400" b="0">
                <a:solidFill>
                  <a:schemeClr val="tx1"/>
                </a:solidFill>
                <a:latin typeface="+mn-lt"/>
              </a:defRPr>
            </a:lvl1pPr>
          </a:lstStyle>
          <a:p>
            <a:pPr lvl="0"/>
            <a:r>
              <a:rPr lang="en-US"/>
              <a:t>Click to add text</a:t>
            </a:r>
          </a:p>
        </p:txBody>
      </p:sp>
      <p:sp>
        <p:nvSpPr>
          <p:cNvPr id="21" name="Text Placeholder 68">
            <a:extLst>
              <a:ext uri="{FF2B5EF4-FFF2-40B4-BE49-F238E27FC236}">
                <a16:creationId xmlns:a16="http://schemas.microsoft.com/office/drawing/2014/main" id="{C4C36F68-AA63-4FDB-074C-2630602A4A6A}"/>
              </a:ext>
            </a:extLst>
          </p:cNvPr>
          <p:cNvSpPr>
            <a:spLocks noGrp="1"/>
          </p:cNvSpPr>
          <p:nvPr>
            <p:ph type="body" sz="quarter" idx="16" hasCustomPrompt="1"/>
          </p:nvPr>
        </p:nvSpPr>
        <p:spPr>
          <a:xfrm>
            <a:off x="550862" y="5159211"/>
            <a:ext cx="2665413" cy="1097280"/>
          </a:xfrm>
        </p:spPr>
        <p:txBody>
          <a:bodyPr wrap="square" lIns="0" tIns="0" rIns="0" bIns="0" anchor="t">
            <a:normAutofit/>
          </a:bodyPr>
          <a:lstStyle>
            <a:lvl1pPr marL="0" indent="0">
              <a:lnSpc>
                <a:spcPct val="100000"/>
              </a:lnSpc>
              <a:spcBef>
                <a:spcPts val="0"/>
              </a:spcBef>
              <a:buNone/>
              <a:defRPr sz="1400" b="0">
                <a:solidFill>
                  <a:schemeClr val="tx1"/>
                </a:solidFill>
                <a:latin typeface="+mn-lt"/>
              </a:defRPr>
            </a:lvl1pPr>
          </a:lstStyle>
          <a:p>
            <a:pPr lvl="0"/>
            <a:r>
              <a:rPr lang="en-US"/>
              <a:t>Click to add text</a:t>
            </a:r>
          </a:p>
        </p:txBody>
      </p:sp>
      <p:sp>
        <p:nvSpPr>
          <p:cNvPr id="22" name="Text Placeholder 68">
            <a:extLst>
              <a:ext uri="{FF2B5EF4-FFF2-40B4-BE49-F238E27FC236}">
                <a16:creationId xmlns:a16="http://schemas.microsoft.com/office/drawing/2014/main" id="{A82C45B8-7C3C-B7A1-C7B9-B20FE81AE661}"/>
              </a:ext>
            </a:extLst>
          </p:cNvPr>
          <p:cNvSpPr>
            <a:spLocks noGrp="1"/>
          </p:cNvSpPr>
          <p:nvPr>
            <p:ph type="body" sz="quarter" idx="17" hasCustomPrompt="1"/>
          </p:nvPr>
        </p:nvSpPr>
        <p:spPr>
          <a:xfrm>
            <a:off x="3971817" y="5159211"/>
            <a:ext cx="2665413" cy="1097280"/>
          </a:xfrm>
        </p:spPr>
        <p:txBody>
          <a:bodyPr wrap="square" lIns="0" tIns="0" rIns="0" bIns="0" anchor="t">
            <a:normAutofit/>
          </a:bodyPr>
          <a:lstStyle>
            <a:lvl1pPr marL="0" indent="0">
              <a:lnSpc>
                <a:spcPct val="100000"/>
              </a:lnSpc>
              <a:spcBef>
                <a:spcPts val="0"/>
              </a:spcBef>
              <a:buNone/>
              <a:defRPr sz="1400" b="0">
                <a:solidFill>
                  <a:schemeClr val="tx1"/>
                </a:solidFill>
                <a:latin typeface="+mn-lt"/>
              </a:defRPr>
            </a:lvl1pPr>
          </a:lstStyle>
          <a:p>
            <a:pPr lvl="0"/>
            <a:r>
              <a:rPr lang="en-US"/>
              <a:t>Click to add text</a:t>
            </a:r>
          </a:p>
        </p:txBody>
      </p:sp>
      <p:sp>
        <p:nvSpPr>
          <p:cNvPr id="27" name="Text Placeholder 68">
            <a:extLst>
              <a:ext uri="{FF2B5EF4-FFF2-40B4-BE49-F238E27FC236}">
                <a16:creationId xmlns:a16="http://schemas.microsoft.com/office/drawing/2014/main" id="{CF7F9F6B-0053-E961-DBEC-9BDB1A193538}"/>
              </a:ext>
            </a:extLst>
          </p:cNvPr>
          <p:cNvSpPr>
            <a:spLocks noGrp="1"/>
          </p:cNvSpPr>
          <p:nvPr>
            <p:ph type="body" sz="quarter" idx="18" hasCustomPrompt="1"/>
          </p:nvPr>
        </p:nvSpPr>
        <p:spPr>
          <a:xfrm>
            <a:off x="550862" y="2348061"/>
            <a:ext cx="2665413" cy="219456"/>
          </a:xfrm>
        </p:spPr>
        <p:txBody>
          <a:bodyPr wrap="square" lIns="0" tIns="0" rIns="0" bIns="0" anchor="t">
            <a:noAutofit/>
          </a:bodyPr>
          <a:lstStyle>
            <a:lvl1pPr marL="0" indent="0">
              <a:lnSpc>
                <a:spcPct val="100000"/>
              </a:lnSpc>
              <a:spcBef>
                <a:spcPts val="0"/>
              </a:spcBef>
              <a:buNone/>
              <a:defRPr sz="1600" b="1">
                <a:solidFill>
                  <a:schemeClr val="tx1"/>
                </a:solidFill>
                <a:latin typeface="+mj-lt"/>
              </a:defRPr>
            </a:lvl1pPr>
          </a:lstStyle>
          <a:p>
            <a:pPr lvl="0"/>
            <a:r>
              <a:rPr lang="en-US"/>
              <a:t>Click to add text</a:t>
            </a:r>
          </a:p>
        </p:txBody>
      </p:sp>
      <p:sp>
        <p:nvSpPr>
          <p:cNvPr id="28" name="Text Placeholder 68">
            <a:extLst>
              <a:ext uri="{FF2B5EF4-FFF2-40B4-BE49-F238E27FC236}">
                <a16:creationId xmlns:a16="http://schemas.microsoft.com/office/drawing/2014/main" id="{3F18C5B9-DBE2-E923-5A79-818060AA53E4}"/>
              </a:ext>
            </a:extLst>
          </p:cNvPr>
          <p:cNvSpPr>
            <a:spLocks noGrp="1"/>
          </p:cNvSpPr>
          <p:nvPr>
            <p:ph type="body" sz="quarter" idx="19" hasCustomPrompt="1"/>
          </p:nvPr>
        </p:nvSpPr>
        <p:spPr>
          <a:xfrm>
            <a:off x="3971817" y="2348061"/>
            <a:ext cx="2665413" cy="219456"/>
          </a:xfrm>
        </p:spPr>
        <p:txBody>
          <a:bodyPr wrap="square" lIns="0" tIns="0" rIns="0" bIns="0" anchor="t">
            <a:noAutofit/>
          </a:bodyPr>
          <a:lstStyle>
            <a:lvl1pPr marL="0" indent="0">
              <a:lnSpc>
                <a:spcPct val="100000"/>
              </a:lnSpc>
              <a:spcBef>
                <a:spcPts val="0"/>
              </a:spcBef>
              <a:buNone/>
              <a:defRPr sz="1600" b="1">
                <a:solidFill>
                  <a:schemeClr val="tx1"/>
                </a:solidFill>
                <a:latin typeface="+mj-lt"/>
              </a:defRPr>
            </a:lvl1pPr>
          </a:lstStyle>
          <a:p>
            <a:pPr lvl="0"/>
            <a:r>
              <a:rPr lang="en-US"/>
              <a:t>Click to add text</a:t>
            </a:r>
          </a:p>
        </p:txBody>
      </p:sp>
      <p:sp>
        <p:nvSpPr>
          <p:cNvPr id="29" name="Text Placeholder 68">
            <a:extLst>
              <a:ext uri="{FF2B5EF4-FFF2-40B4-BE49-F238E27FC236}">
                <a16:creationId xmlns:a16="http://schemas.microsoft.com/office/drawing/2014/main" id="{7DC768F2-B226-37B8-7D1A-D8704BA3224E}"/>
              </a:ext>
            </a:extLst>
          </p:cNvPr>
          <p:cNvSpPr>
            <a:spLocks noGrp="1"/>
          </p:cNvSpPr>
          <p:nvPr>
            <p:ph type="body" sz="quarter" idx="20" hasCustomPrompt="1"/>
          </p:nvPr>
        </p:nvSpPr>
        <p:spPr>
          <a:xfrm>
            <a:off x="550862" y="4811292"/>
            <a:ext cx="2665413" cy="219456"/>
          </a:xfrm>
        </p:spPr>
        <p:txBody>
          <a:bodyPr wrap="square" lIns="0" tIns="0" rIns="0" bIns="0" anchor="t">
            <a:noAutofit/>
          </a:bodyPr>
          <a:lstStyle>
            <a:lvl1pPr marL="0" indent="0">
              <a:lnSpc>
                <a:spcPct val="100000"/>
              </a:lnSpc>
              <a:spcBef>
                <a:spcPts val="0"/>
              </a:spcBef>
              <a:buNone/>
              <a:defRPr sz="1600" b="1">
                <a:solidFill>
                  <a:schemeClr val="tx1"/>
                </a:solidFill>
                <a:latin typeface="+mj-lt"/>
              </a:defRPr>
            </a:lvl1pPr>
          </a:lstStyle>
          <a:p>
            <a:pPr lvl="0"/>
            <a:r>
              <a:rPr lang="en-US"/>
              <a:t>Click to add text</a:t>
            </a:r>
          </a:p>
        </p:txBody>
      </p:sp>
      <p:sp>
        <p:nvSpPr>
          <p:cNvPr id="30" name="Text Placeholder 68">
            <a:extLst>
              <a:ext uri="{FF2B5EF4-FFF2-40B4-BE49-F238E27FC236}">
                <a16:creationId xmlns:a16="http://schemas.microsoft.com/office/drawing/2014/main" id="{AC3D7515-2DF1-FE41-29D1-5C0AD50BE86D}"/>
              </a:ext>
            </a:extLst>
          </p:cNvPr>
          <p:cNvSpPr>
            <a:spLocks noGrp="1"/>
          </p:cNvSpPr>
          <p:nvPr>
            <p:ph type="body" sz="quarter" idx="21" hasCustomPrompt="1"/>
          </p:nvPr>
        </p:nvSpPr>
        <p:spPr>
          <a:xfrm>
            <a:off x="3971817" y="4811292"/>
            <a:ext cx="2665413" cy="219456"/>
          </a:xfrm>
        </p:spPr>
        <p:txBody>
          <a:bodyPr wrap="square" lIns="0" tIns="0" rIns="0" bIns="0" anchor="t">
            <a:noAutofit/>
          </a:bodyPr>
          <a:lstStyle>
            <a:lvl1pPr marL="0" indent="0">
              <a:lnSpc>
                <a:spcPct val="100000"/>
              </a:lnSpc>
              <a:spcBef>
                <a:spcPts val="0"/>
              </a:spcBef>
              <a:buNone/>
              <a:defRPr sz="1600" b="1">
                <a:solidFill>
                  <a:schemeClr val="tx1"/>
                </a:solidFill>
                <a:latin typeface="+mj-lt"/>
              </a:defRPr>
            </a:lvl1pPr>
          </a:lstStyle>
          <a:p>
            <a:pPr lvl="0"/>
            <a:r>
              <a:rPr lang="en-US"/>
              <a:t>Click to add text</a:t>
            </a:r>
          </a:p>
        </p:txBody>
      </p:sp>
      <p:sp>
        <p:nvSpPr>
          <p:cNvPr id="3" name="Text Placeholder 2">
            <a:extLst>
              <a:ext uri="{FF2B5EF4-FFF2-40B4-BE49-F238E27FC236}">
                <a16:creationId xmlns:a16="http://schemas.microsoft.com/office/drawing/2014/main" id="{AB5EFCE3-8E47-3964-E6FD-5345F75A9547}"/>
              </a:ext>
            </a:extLst>
          </p:cNvPr>
          <p:cNvSpPr>
            <a:spLocks noGrp="1"/>
          </p:cNvSpPr>
          <p:nvPr>
            <p:ph type="body" sz="quarter" idx="11" hasCustomPrompt="1"/>
          </p:nvPr>
        </p:nvSpPr>
        <p:spPr>
          <a:xfrm>
            <a:off x="550862" y="1116917"/>
            <a:ext cx="11090275" cy="246221"/>
          </a:xfrm>
        </p:spPr>
        <p:txBody>
          <a:bodyPr lIns="0" tIns="0" rIns="0" bIns="0" anchor="t">
            <a:noAutofit/>
          </a:bodyPr>
          <a:lstStyle>
            <a:lvl1pPr marL="0" indent="0">
              <a:lnSpc>
                <a:spcPct val="100000"/>
              </a:lnSpc>
              <a:spcBef>
                <a:spcPts val="0"/>
              </a:spcBef>
              <a:buNone/>
              <a:defRPr sz="1800" b="0">
                <a:solidFill>
                  <a:schemeClr val="tx2"/>
                </a:solidFill>
              </a:defRPr>
            </a:lvl1pPr>
          </a:lstStyle>
          <a:p>
            <a:pPr lvl="0"/>
            <a:r>
              <a:rPr lang="en-US"/>
              <a:t>Subtitle</a:t>
            </a:r>
          </a:p>
        </p:txBody>
      </p:sp>
      <p:pic>
        <p:nvPicPr>
          <p:cNvPr id="2" name="Graphic 1">
            <a:extLst>
              <a:ext uri="{FF2B5EF4-FFF2-40B4-BE49-F238E27FC236}">
                <a16:creationId xmlns:a16="http://schemas.microsoft.com/office/drawing/2014/main" id="{E3DBD69F-B215-5C3A-24BA-0811D6CAE9A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95317" y="-62632"/>
            <a:ext cx="1584960" cy="894079"/>
          </a:xfrm>
          <a:prstGeom prst="rect">
            <a:avLst/>
          </a:prstGeom>
        </p:spPr>
      </p:pic>
      <p:sp>
        <p:nvSpPr>
          <p:cNvPr id="5" name="Text Placeholder 2">
            <a:extLst>
              <a:ext uri="{FF2B5EF4-FFF2-40B4-BE49-F238E27FC236}">
                <a16:creationId xmlns:a16="http://schemas.microsoft.com/office/drawing/2014/main" id="{6E8F0F0D-474A-4B79-B33A-EA9B63038D95}"/>
              </a:ext>
            </a:extLst>
          </p:cNvPr>
          <p:cNvSpPr>
            <a:spLocks noGrp="1"/>
          </p:cNvSpPr>
          <p:nvPr>
            <p:ph type="body" sz="quarter" idx="10" hasCustomPrompt="1"/>
          </p:nvPr>
        </p:nvSpPr>
        <p:spPr>
          <a:xfrm>
            <a:off x="550862" y="613507"/>
            <a:ext cx="11090275" cy="369332"/>
          </a:xfrm>
        </p:spPr>
        <p:txBody>
          <a:bodyPr lIns="0" tIns="0" rIns="0" bIns="0" anchor="b">
            <a:noAutofit/>
          </a:bodyPr>
          <a:lstStyle>
            <a:lvl1pPr marL="0" indent="0">
              <a:lnSpc>
                <a:spcPct val="100000"/>
              </a:lnSpc>
              <a:spcBef>
                <a:spcPts val="0"/>
              </a:spcBef>
              <a:buNone/>
              <a:defRPr sz="2800" b="1">
                <a:solidFill>
                  <a:schemeClr val="tx2"/>
                </a:solidFill>
                <a:latin typeface="+mj-lt"/>
              </a:defRPr>
            </a:lvl1pPr>
          </a:lstStyle>
          <a:p>
            <a:pPr lvl="0"/>
            <a:r>
              <a:rPr lang="en-US"/>
              <a:t>Text with icon</a:t>
            </a:r>
          </a:p>
        </p:txBody>
      </p:sp>
    </p:spTree>
    <p:extLst>
      <p:ext uri="{BB962C8B-B14F-4D97-AF65-F5344CB8AC3E}">
        <p14:creationId xmlns:p14="http://schemas.microsoft.com/office/powerpoint/2010/main" val="40773918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E399722A-98DF-32E8-5755-E851D0C5DF4D}"/>
              </a:ext>
            </a:extLst>
          </p:cNvPr>
          <p:cNvSpPr>
            <a:spLocks noGrp="1"/>
          </p:cNvSpPr>
          <p:nvPr>
            <p:ph type="sldNum" sz="quarter" idx="4"/>
          </p:nvPr>
        </p:nvSpPr>
        <p:spPr>
          <a:xfrm>
            <a:off x="11087100" y="6564440"/>
            <a:ext cx="554038" cy="138499"/>
          </a:xfrm>
          <a:prstGeom prst="rect">
            <a:avLst/>
          </a:prstGeom>
        </p:spPr>
        <p:txBody>
          <a:bodyPr wrap="square" lIns="0" tIns="0" rIns="0" bIns="0" anchor="ctr">
            <a:normAutofit/>
          </a:bodyPr>
          <a:lstStyle>
            <a:lvl1pPr algn="r">
              <a:defRPr sz="900">
                <a:solidFill>
                  <a:schemeClr val="tx1"/>
                </a:solidFill>
              </a:defRPr>
            </a:lvl1pPr>
          </a:lstStyle>
          <a:p>
            <a:fld id="{0E88EC54-15BE-9740-A323-DA3E96F2F863}" type="slidenum">
              <a:rPr lang="en-US" smtClean="0"/>
              <a:pPr/>
              <a:t>‹#›</a:t>
            </a:fld>
            <a:endParaRPr lang="en-US"/>
          </a:p>
        </p:txBody>
      </p:sp>
      <p:pic>
        <p:nvPicPr>
          <p:cNvPr id="2" name="Graphic 1">
            <a:extLst>
              <a:ext uri="{FF2B5EF4-FFF2-40B4-BE49-F238E27FC236}">
                <a16:creationId xmlns:a16="http://schemas.microsoft.com/office/drawing/2014/main" id="{CEE8D1F1-BBFA-7C5F-59FA-D43D11F5E14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95317" y="-62632"/>
            <a:ext cx="1584960" cy="894079"/>
          </a:xfrm>
          <a:prstGeom prst="rect">
            <a:avLst/>
          </a:prstGeom>
        </p:spPr>
      </p:pic>
    </p:spTree>
    <p:extLst>
      <p:ext uri="{BB962C8B-B14F-4D97-AF65-F5344CB8AC3E}">
        <p14:creationId xmlns:p14="http://schemas.microsoft.com/office/powerpoint/2010/main" val="32494829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ingle content with image">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0E5A2805-85AF-2FBF-7207-97229A3660E0}"/>
              </a:ext>
            </a:extLst>
          </p:cNvPr>
          <p:cNvGraphicFramePr>
            <a:graphicFrameLocks noChangeAspect="1"/>
          </p:cNvGraphicFramePr>
          <p:nvPr userDrawn="1">
            <p:custDataLst>
              <p:tags r:id="rId1"/>
            </p:custDataLst>
            <p:extLst>
              <p:ext uri="{D42A27DB-BD31-4B8C-83A1-F6EECF244321}">
                <p14:modId xmlns:p14="http://schemas.microsoft.com/office/powerpoint/2010/main" val="3443388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13" name="think-cell data - do not delete" hidden="1">
                        <a:extLst>
                          <a:ext uri="{FF2B5EF4-FFF2-40B4-BE49-F238E27FC236}">
                            <a16:creationId xmlns:a16="http://schemas.microsoft.com/office/drawing/2014/main" id="{0E5A2805-85AF-2FBF-7207-97229A3660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Shape 9">
            <a:extLst>
              <a:ext uri="{FF2B5EF4-FFF2-40B4-BE49-F238E27FC236}">
                <a16:creationId xmlns:a16="http://schemas.microsoft.com/office/drawing/2014/main" id="{6E188E6E-2E44-BB4B-09D6-ABC803DF5523}"/>
              </a:ext>
            </a:extLst>
          </p:cNvPr>
          <p:cNvSpPr/>
          <p:nvPr userDrawn="1"/>
        </p:nvSpPr>
        <p:spPr>
          <a:xfrm>
            <a:off x="0" y="-1"/>
            <a:ext cx="12191999" cy="6858001"/>
          </a:xfrm>
          <a:custGeom>
            <a:avLst/>
            <a:gdLst>
              <a:gd name="connsiteX0" fmla="*/ 0 w 12191999"/>
              <a:gd name="connsiteY0" fmla="*/ 0 h 6858001"/>
              <a:gd name="connsiteX1" fmla="*/ 12191999 w 12191999"/>
              <a:gd name="connsiteY1" fmla="*/ 0 h 6858001"/>
              <a:gd name="connsiteX2" fmla="*/ 12191999 w 12191999"/>
              <a:gd name="connsiteY2" fmla="*/ 2 h 6858001"/>
              <a:gd name="connsiteX3" fmla="*/ 5345740 w 12191999"/>
              <a:gd name="connsiteY3" fmla="*/ 2 h 6858001"/>
              <a:gd name="connsiteX4" fmla="*/ 5382317 w 12191999"/>
              <a:gd name="connsiteY4" fmla="*/ 288012 h 6858001"/>
              <a:gd name="connsiteX5" fmla="*/ 11951546 w 12191999"/>
              <a:gd name="connsiteY5" fmla="*/ 6477611 h 6858001"/>
              <a:gd name="connsiteX6" fmla="*/ 12191999 w 12191999"/>
              <a:gd name="connsiteY6" fmla="*/ 6494189 h 6858001"/>
              <a:gd name="connsiteX7" fmla="*/ 12191999 w 12191999"/>
              <a:gd name="connsiteY7" fmla="*/ 6499860 h 6858001"/>
              <a:gd name="connsiteX8" fmla="*/ 12191999 w 12191999"/>
              <a:gd name="connsiteY8" fmla="*/ 6508780 h 6858001"/>
              <a:gd name="connsiteX9" fmla="*/ 12191999 w 12191999"/>
              <a:gd name="connsiteY9" fmla="*/ 6514009 h 6858001"/>
              <a:gd name="connsiteX10" fmla="*/ 12191999 w 12191999"/>
              <a:gd name="connsiteY10" fmla="*/ 6702425 h 6858001"/>
              <a:gd name="connsiteX11" fmla="*/ 12191999 w 12191999"/>
              <a:gd name="connsiteY11" fmla="*/ 6858001 h 6858001"/>
              <a:gd name="connsiteX12" fmla="*/ 0 w 12191999"/>
              <a:gd name="connsiteY12"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1999" h="6858001">
                <a:moveTo>
                  <a:pt x="0" y="0"/>
                </a:moveTo>
                <a:lnTo>
                  <a:pt x="12191999" y="0"/>
                </a:lnTo>
                <a:lnTo>
                  <a:pt x="12191999" y="2"/>
                </a:lnTo>
                <a:lnTo>
                  <a:pt x="5345740" y="2"/>
                </a:lnTo>
                <a:lnTo>
                  <a:pt x="5382317" y="288012"/>
                </a:lnTo>
                <a:cubicBezTo>
                  <a:pt x="5886541" y="3589817"/>
                  <a:pt x="8590430" y="6168210"/>
                  <a:pt x="11951546" y="6477611"/>
                </a:cubicBezTo>
                <a:lnTo>
                  <a:pt x="12191999" y="6494189"/>
                </a:lnTo>
                <a:lnTo>
                  <a:pt x="12191999" y="6499860"/>
                </a:lnTo>
                <a:lnTo>
                  <a:pt x="12191999" y="6508780"/>
                </a:lnTo>
                <a:lnTo>
                  <a:pt x="12191999" y="6514009"/>
                </a:lnTo>
                <a:lnTo>
                  <a:pt x="12191999" y="6702425"/>
                </a:lnTo>
                <a:lnTo>
                  <a:pt x="12191999" y="6858001"/>
                </a:lnTo>
                <a:lnTo>
                  <a:pt x="0" y="6858001"/>
                </a:lnTo>
                <a:close/>
              </a:path>
            </a:pathLst>
          </a:cu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6" name="Picture Placeholder 45">
            <a:extLst>
              <a:ext uri="{FF2B5EF4-FFF2-40B4-BE49-F238E27FC236}">
                <a16:creationId xmlns:a16="http://schemas.microsoft.com/office/drawing/2014/main" id="{E92ED153-4587-C95B-3E58-5C089203FC6F}"/>
              </a:ext>
            </a:extLst>
          </p:cNvPr>
          <p:cNvSpPr>
            <a:spLocks noGrp="1"/>
          </p:cNvSpPr>
          <p:nvPr>
            <p:ph type="pic" sz="quarter" idx="14" hasCustomPrompt="1"/>
          </p:nvPr>
        </p:nvSpPr>
        <p:spPr>
          <a:xfrm>
            <a:off x="5345954" y="1688"/>
            <a:ext cx="6846047" cy="6856313"/>
          </a:xfrm>
          <a:custGeom>
            <a:avLst/>
            <a:gdLst>
              <a:gd name="connsiteX0" fmla="*/ 6036492 w 6846047"/>
              <a:gd name="connsiteY0" fmla="*/ 504119 h 6856313"/>
              <a:gd name="connsiteX1" fmla="*/ 6044861 w 6846047"/>
              <a:gd name="connsiteY1" fmla="*/ 529472 h 6856313"/>
              <a:gd name="connsiteX2" fmla="*/ 6028123 w 6846047"/>
              <a:gd name="connsiteY2" fmla="*/ 529472 h 6856313"/>
              <a:gd name="connsiteX3" fmla="*/ 6314811 w 6846047"/>
              <a:gd name="connsiteY3" fmla="*/ 504119 h 6856313"/>
              <a:gd name="connsiteX4" fmla="*/ 6323180 w 6846047"/>
              <a:gd name="connsiteY4" fmla="*/ 529472 h 6856313"/>
              <a:gd name="connsiteX5" fmla="*/ 6306442 w 6846047"/>
              <a:gd name="connsiteY5" fmla="*/ 529472 h 6856313"/>
              <a:gd name="connsiteX6" fmla="*/ 5902316 w 6846047"/>
              <a:gd name="connsiteY6" fmla="*/ 501434 h 6856313"/>
              <a:gd name="connsiteX7" fmla="*/ 5914716 w 6846047"/>
              <a:gd name="connsiteY7" fmla="*/ 501434 h 6856313"/>
              <a:gd name="connsiteX8" fmla="*/ 5920549 w 6846047"/>
              <a:gd name="connsiteY8" fmla="*/ 504093 h 6856313"/>
              <a:gd name="connsiteX9" fmla="*/ 5922984 w 6846047"/>
              <a:gd name="connsiteY9" fmla="*/ 510577 h 6856313"/>
              <a:gd name="connsiteX10" fmla="*/ 5920549 w 6846047"/>
              <a:gd name="connsiteY10" fmla="*/ 517087 h 6856313"/>
              <a:gd name="connsiteX11" fmla="*/ 5914716 w 6846047"/>
              <a:gd name="connsiteY11" fmla="*/ 519797 h 6856313"/>
              <a:gd name="connsiteX12" fmla="*/ 5902316 w 6846047"/>
              <a:gd name="connsiteY12" fmla="*/ 519797 h 6856313"/>
              <a:gd name="connsiteX13" fmla="*/ 6181953 w 6846047"/>
              <a:gd name="connsiteY13" fmla="*/ 500649 h 6856313"/>
              <a:gd name="connsiteX14" fmla="*/ 6196002 w 6846047"/>
              <a:gd name="connsiteY14" fmla="*/ 506424 h 6856313"/>
              <a:gd name="connsiteX15" fmla="*/ 6201682 w 6846047"/>
              <a:gd name="connsiteY15" fmla="*/ 521038 h 6856313"/>
              <a:gd name="connsiteX16" fmla="*/ 6196002 w 6846047"/>
              <a:gd name="connsiteY16" fmla="*/ 535627 h 6856313"/>
              <a:gd name="connsiteX17" fmla="*/ 6181953 w 6846047"/>
              <a:gd name="connsiteY17" fmla="*/ 541351 h 6856313"/>
              <a:gd name="connsiteX18" fmla="*/ 6167904 w 6846047"/>
              <a:gd name="connsiteY18" fmla="*/ 535627 h 6856313"/>
              <a:gd name="connsiteX19" fmla="*/ 6162223 w 6846047"/>
              <a:gd name="connsiteY19" fmla="*/ 521038 h 6856313"/>
              <a:gd name="connsiteX20" fmla="*/ 6167904 w 6846047"/>
              <a:gd name="connsiteY20" fmla="*/ 506424 h 6856313"/>
              <a:gd name="connsiteX21" fmla="*/ 6181953 w 6846047"/>
              <a:gd name="connsiteY21" fmla="*/ 500649 h 6856313"/>
              <a:gd name="connsiteX22" fmla="*/ 5693887 w 6846047"/>
              <a:gd name="connsiteY22" fmla="*/ 490012 h 6856313"/>
              <a:gd name="connsiteX23" fmla="*/ 5693887 w 6846047"/>
              <a:gd name="connsiteY23" fmla="*/ 552066 h 6856313"/>
              <a:gd name="connsiteX24" fmla="*/ 5705933 w 6846047"/>
              <a:gd name="connsiteY24" fmla="*/ 552066 h 6856313"/>
              <a:gd name="connsiteX25" fmla="*/ 5705933 w 6846047"/>
              <a:gd name="connsiteY25" fmla="*/ 490012 h 6856313"/>
              <a:gd name="connsiteX26" fmla="*/ 5722492 w 6846047"/>
              <a:gd name="connsiteY26" fmla="*/ 490011 h 6856313"/>
              <a:gd name="connsiteX27" fmla="*/ 5722492 w 6846047"/>
              <a:gd name="connsiteY27" fmla="*/ 552065 h 6856313"/>
              <a:gd name="connsiteX28" fmla="*/ 5734538 w 6846047"/>
              <a:gd name="connsiteY28" fmla="*/ 552065 h 6856313"/>
              <a:gd name="connsiteX29" fmla="*/ 5734538 w 6846047"/>
              <a:gd name="connsiteY29" fmla="*/ 514123 h 6856313"/>
              <a:gd name="connsiteX30" fmla="*/ 5760709 w 6846047"/>
              <a:gd name="connsiteY30" fmla="*/ 552065 h 6856313"/>
              <a:gd name="connsiteX31" fmla="*/ 5769863 w 6846047"/>
              <a:gd name="connsiteY31" fmla="*/ 552065 h 6856313"/>
              <a:gd name="connsiteX32" fmla="*/ 5769863 w 6846047"/>
              <a:gd name="connsiteY32" fmla="*/ 490011 h 6856313"/>
              <a:gd name="connsiteX33" fmla="*/ 5757818 w 6846047"/>
              <a:gd name="connsiteY33" fmla="*/ 490011 h 6856313"/>
              <a:gd name="connsiteX34" fmla="*/ 5757818 w 6846047"/>
              <a:gd name="connsiteY34" fmla="*/ 527877 h 6856313"/>
              <a:gd name="connsiteX35" fmla="*/ 5731647 w 6846047"/>
              <a:gd name="connsiteY35" fmla="*/ 490011 h 6856313"/>
              <a:gd name="connsiteX36" fmla="*/ 5781909 w 6846047"/>
              <a:gd name="connsiteY36" fmla="*/ 490011 h 6856313"/>
              <a:gd name="connsiteX37" fmla="*/ 5781909 w 6846047"/>
              <a:gd name="connsiteY37" fmla="*/ 501713 h 6856313"/>
              <a:gd name="connsiteX38" fmla="*/ 5798317 w 6846047"/>
              <a:gd name="connsiteY38" fmla="*/ 501713 h 6856313"/>
              <a:gd name="connsiteX39" fmla="*/ 5798317 w 6846047"/>
              <a:gd name="connsiteY39" fmla="*/ 552065 h 6856313"/>
              <a:gd name="connsiteX40" fmla="*/ 5810362 w 6846047"/>
              <a:gd name="connsiteY40" fmla="*/ 552065 h 6856313"/>
              <a:gd name="connsiteX41" fmla="*/ 5810362 w 6846047"/>
              <a:gd name="connsiteY41" fmla="*/ 501713 h 6856313"/>
              <a:gd name="connsiteX42" fmla="*/ 5826846 w 6846047"/>
              <a:gd name="connsiteY42" fmla="*/ 501713 h 6856313"/>
              <a:gd name="connsiteX43" fmla="*/ 5826846 w 6846047"/>
              <a:gd name="connsiteY43" fmla="*/ 490011 h 6856313"/>
              <a:gd name="connsiteX44" fmla="*/ 5838790 w 6846047"/>
              <a:gd name="connsiteY44" fmla="*/ 490011 h 6856313"/>
              <a:gd name="connsiteX45" fmla="*/ 5838790 w 6846047"/>
              <a:gd name="connsiteY45" fmla="*/ 552065 h 6856313"/>
              <a:gd name="connsiteX46" fmla="*/ 5876575 w 6846047"/>
              <a:gd name="connsiteY46" fmla="*/ 552065 h 6856313"/>
              <a:gd name="connsiteX47" fmla="*/ 5876575 w 6846047"/>
              <a:gd name="connsiteY47" fmla="*/ 540363 h 6856313"/>
              <a:gd name="connsiteX48" fmla="*/ 5850836 w 6846047"/>
              <a:gd name="connsiteY48" fmla="*/ 540363 h 6856313"/>
              <a:gd name="connsiteX49" fmla="*/ 5850836 w 6846047"/>
              <a:gd name="connsiteY49" fmla="*/ 526458 h 6856313"/>
              <a:gd name="connsiteX50" fmla="*/ 5873963 w 6846047"/>
              <a:gd name="connsiteY50" fmla="*/ 526458 h 6856313"/>
              <a:gd name="connsiteX51" fmla="*/ 5873963 w 6846047"/>
              <a:gd name="connsiteY51" fmla="*/ 514934 h 6856313"/>
              <a:gd name="connsiteX52" fmla="*/ 5850836 w 6846047"/>
              <a:gd name="connsiteY52" fmla="*/ 514934 h 6856313"/>
              <a:gd name="connsiteX53" fmla="*/ 5850836 w 6846047"/>
              <a:gd name="connsiteY53" fmla="*/ 501713 h 6856313"/>
              <a:gd name="connsiteX54" fmla="*/ 5876144 w 6846047"/>
              <a:gd name="connsiteY54" fmla="*/ 501713 h 6856313"/>
              <a:gd name="connsiteX55" fmla="*/ 5876144 w 6846047"/>
              <a:gd name="connsiteY55" fmla="*/ 490011 h 6856313"/>
              <a:gd name="connsiteX56" fmla="*/ 5949078 w 6846047"/>
              <a:gd name="connsiteY56" fmla="*/ 490011 h 6856313"/>
              <a:gd name="connsiteX57" fmla="*/ 5949078 w 6846047"/>
              <a:gd name="connsiteY57" fmla="*/ 552065 h 6856313"/>
              <a:gd name="connsiteX58" fmla="*/ 5961124 w 6846047"/>
              <a:gd name="connsiteY58" fmla="*/ 552065 h 6856313"/>
              <a:gd name="connsiteX59" fmla="*/ 5961124 w 6846047"/>
              <a:gd name="connsiteY59" fmla="*/ 514123 h 6856313"/>
              <a:gd name="connsiteX60" fmla="*/ 5987294 w 6846047"/>
              <a:gd name="connsiteY60" fmla="*/ 552065 h 6856313"/>
              <a:gd name="connsiteX61" fmla="*/ 5996449 w 6846047"/>
              <a:gd name="connsiteY61" fmla="*/ 552065 h 6856313"/>
              <a:gd name="connsiteX62" fmla="*/ 5996449 w 6846047"/>
              <a:gd name="connsiteY62" fmla="*/ 490011 h 6856313"/>
              <a:gd name="connsiteX63" fmla="*/ 5984429 w 6846047"/>
              <a:gd name="connsiteY63" fmla="*/ 490011 h 6856313"/>
              <a:gd name="connsiteX64" fmla="*/ 5984429 w 6846047"/>
              <a:gd name="connsiteY64" fmla="*/ 527876 h 6856313"/>
              <a:gd name="connsiteX65" fmla="*/ 5958233 w 6846047"/>
              <a:gd name="connsiteY65" fmla="*/ 490011 h 6856313"/>
              <a:gd name="connsiteX66" fmla="*/ 5890270 w 6846047"/>
              <a:gd name="connsiteY66" fmla="*/ 490011 h 6856313"/>
              <a:gd name="connsiteX67" fmla="*/ 5890270 w 6846047"/>
              <a:gd name="connsiteY67" fmla="*/ 552065 h 6856313"/>
              <a:gd name="connsiteX68" fmla="*/ 5902316 w 6846047"/>
              <a:gd name="connsiteY68" fmla="*/ 552065 h 6856313"/>
              <a:gd name="connsiteX69" fmla="*/ 5902316 w 6846047"/>
              <a:gd name="connsiteY69" fmla="*/ 530536 h 6856313"/>
              <a:gd name="connsiteX70" fmla="*/ 5911470 w 6846047"/>
              <a:gd name="connsiteY70" fmla="*/ 530536 h 6856313"/>
              <a:gd name="connsiteX71" fmla="*/ 5923770 w 6846047"/>
              <a:gd name="connsiteY71" fmla="*/ 552065 h 6856313"/>
              <a:gd name="connsiteX72" fmla="*/ 5936779 w 6846047"/>
              <a:gd name="connsiteY72" fmla="*/ 552065 h 6856313"/>
              <a:gd name="connsiteX73" fmla="*/ 5923263 w 6846047"/>
              <a:gd name="connsiteY73" fmla="*/ 528662 h 6856313"/>
              <a:gd name="connsiteX74" fmla="*/ 5931809 w 6846047"/>
              <a:gd name="connsiteY74" fmla="*/ 521266 h 6856313"/>
              <a:gd name="connsiteX75" fmla="*/ 5935029 w 6846047"/>
              <a:gd name="connsiteY75" fmla="*/ 510577 h 6856313"/>
              <a:gd name="connsiteX76" fmla="*/ 5929095 w 6846047"/>
              <a:gd name="connsiteY76" fmla="*/ 496039 h 6856313"/>
              <a:gd name="connsiteX77" fmla="*/ 5914691 w 6846047"/>
              <a:gd name="connsiteY77" fmla="*/ 490011 h 6856313"/>
              <a:gd name="connsiteX78" fmla="*/ 6029011 w 6846047"/>
              <a:gd name="connsiteY78" fmla="*/ 490011 h 6856313"/>
              <a:gd name="connsiteX79" fmla="*/ 6007633 w 6846047"/>
              <a:gd name="connsiteY79" fmla="*/ 552065 h 6856313"/>
              <a:gd name="connsiteX80" fmla="*/ 6020642 w 6846047"/>
              <a:gd name="connsiteY80" fmla="*/ 552065 h 6856313"/>
              <a:gd name="connsiteX81" fmla="*/ 6024319 w 6846047"/>
              <a:gd name="connsiteY81" fmla="*/ 540895 h 6856313"/>
              <a:gd name="connsiteX82" fmla="*/ 6048664 w 6846047"/>
              <a:gd name="connsiteY82" fmla="*/ 540895 h 6856313"/>
              <a:gd name="connsiteX83" fmla="*/ 6052316 w 6846047"/>
              <a:gd name="connsiteY83" fmla="*/ 552065 h 6856313"/>
              <a:gd name="connsiteX84" fmla="*/ 6065402 w 6846047"/>
              <a:gd name="connsiteY84" fmla="*/ 552065 h 6856313"/>
              <a:gd name="connsiteX85" fmla="*/ 6043948 w 6846047"/>
              <a:gd name="connsiteY85" fmla="*/ 490011 h 6856313"/>
              <a:gd name="connsiteX86" fmla="*/ 6067557 w 6846047"/>
              <a:gd name="connsiteY86" fmla="*/ 490011 h 6856313"/>
              <a:gd name="connsiteX87" fmla="*/ 6067557 w 6846047"/>
              <a:gd name="connsiteY87" fmla="*/ 501713 h 6856313"/>
              <a:gd name="connsiteX88" fmla="*/ 6083964 w 6846047"/>
              <a:gd name="connsiteY88" fmla="*/ 501713 h 6856313"/>
              <a:gd name="connsiteX89" fmla="*/ 6083964 w 6846047"/>
              <a:gd name="connsiteY89" fmla="*/ 552065 h 6856313"/>
              <a:gd name="connsiteX90" fmla="*/ 6096010 w 6846047"/>
              <a:gd name="connsiteY90" fmla="*/ 552065 h 6856313"/>
              <a:gd name="connsiteX91" fmla="*/ 6096010 w 6846047"/>
              <a:gd name="connsiteY91" fmla="*/ 501713 h 6856313"/>
              <a:gd name="connsiteX92" fmla="*/ 6112494 w 6846047"/>
              <a:gd name="connsiteY92" fmla="*/ 501713 h 6856313"/>
              <a:gd name="connsiteX93" fmla="*/ 6112494 w 6846047"/>
              <a:gd name="connsiteY93" fmla="*/ 490011 h 6856313"/>
              <a:gd name="connsiteX94" fmla="*/ 6124463 w 6846047"/>
              <a:gd name="connsiteY94" fmla="*/ 490011 h 6856313"/>
              <a:gd name="connsiteX95" fmla="*/ 6124463 w 6846047"/>
              <a:gd name="connsiteY95" fmla="*/ 552065 h 6856313"/>
              <a:gd name="connsiteX96" fmla="*/ 6136509 w 6846047"/>
              <a:gd name="connsiteY96" fmla="*/ 552065 h 6856313"/>
              <a:gd name="connsiteX97" fmla="*/ 6136509 w 6846047"/>
              <a:gd name="connsiteY97" fmla="*/ 490011 h 6856313"/>
              <a:gd name="connsiteX98" fmla="*/ 6227397 w 6846047"/>
              <a:gd name="connsiteY98" fmla="*/ 490011 h 6856313"/>
              <a:gd name="connsiteX99" fmla="*/ 6227397 w 6846047"/>
              <a:gd name="connsiteY99" fmla="*/ 552065 h 6856313"/>
              <a:gd name="connsiteX100" fmla="*/ 6239443 w 6846047"/>
              <a:gd name="connsiteY100" fmla="*/ 552065 h 6856313"/>
              <a:gd name="connsiteX101" fmla="*/ 6239443 w 6846047"/>
              <a:gd name="connsiteY101" fmla="*/ 514123 h 6856313"/>
              <a:gd name="connsiteX102" fmla="*/ 6265613 w 6846047"/>
              <a:gd name="connsiteY102" fmla="*/ 552065 h 6856313"/>
              <a:gd name="connsiteX103" fmla="*/ 6274794 w 6846047"/>
              <a:gd name="connsiteY103" fmla="*/ 552065 h 6856313"/>
              <a:gd name="connsiteX104" fmla="*/ 6274794 w 6846047"/>
              <a:gd name="connsiteY104" fmla="*/ 490011 h 6856313"/>
              <a:gd name="connsiteX105" fmla="*/ 6262748 w 6846047"/>
              <a:gd name="connsiteY105" fmla="*/ 490011 h 6856313"/>
              <a:gd name="connsiteX106" fmla="*/ 6262748 w 6846047"/>
              <a:gd name="connsiteY106" fmla="*/ 527876 h 6856313"/>
              <a:gd name="connsiteX107" fmla="*/ 6236577 w 6846047"/>
              <a:gd name="connsiteY107" fmla="*/ 490011 h 6856313"/>
              <a:gd name="connsiteX108" fmla="*/ 6307330 w 6846047"/>
              <a:gd name="connsiteY108" fmla="*/ 490011 h 6856313"/>
              <a:gd name="connsiteX109" fmla="*/ 6285952 w 6846047"/>
              <a:gd name="connsiteY109" fmla="*/ 552065 h 6856313"/>
              <a:gd name="connsiteX110" fmla="*/ 6298961 w 6846047"/>
              <a:gd name="connsiteY110" fmla="*/ 552065 h 6856313"/>
              <a:gd name="connsiteX111" fmla="*/ 6302613 w 6846047"/>
              <a:gd name="connsiteY111" fmla="*/ 540895 h 6856313"/>
              <a:gd name="connsiteX112" fmla="*/ 6326958 w 6846047"/>
              <a:gd name="connsiteY112" fmla="*/ 540895 h 6856313"/>
              <a:gd name="connsiteX113" fmla="*/ 6330635 w 6846047"/>
              <a:gd name="connsiteY113" fmla="*/ 552065 h 6856313"/>
              <a:gd name="connsiteX114" fmla="*/ 6343721 w 6846047"/>
              <a:gd name="connsiteY114" fmla="*/ 552065 h 6856313"/>
              <a:gd name="connsiteX115" fmla="*/ 6322267 w 6846047"/>
              <a:gd name="connsiteY115" fmla="*/ 490011 h 6856313"/>
              <a:gd name="connsiteX116" fmla="*/ 6354878 w 6846047"/>
              <a:gd name="connsiteY116" fmla="*/ 490010 h 6856313"/>
              <a:gd name="connsiteX117" fmla="*/ 6354878 w 6846047"/>
              <a:gd name="connsiteY117" fmla="*/ 552064 h 6856313"/>
              <a:gd name="connsiteX118" fmla="*/ 6390204 w 6846047"/>
              <a:gd name="connsiteY118" fmla="*/ 552064 h 6856313"/>
              <a:gd name="connsiteX119" fmla="*/ 6390204 w 6846047"/>
              <a:gd name="connsiteY119" fmla="*/ 540362 h 6856313"/>
              <a:gd name="connsiteX120" fmla="*/ 6366924 w 6846047"/>
              <a:gd name="connsiteY120" fmla="*/ 540362 h 6856313"/>
              <a:gd name="connsiteX121" fmla="*/ 6366924 w 6846047"/>
              <a:gd name="connsiteY121" fmla="*/ 490010 h 6856313"/>
              <a:gd name="connsiteX122" fmla="*/ 6181953 w 6846047"/>
              <a:gd name="connsiteY122" fmla="*/ 488770 h 6856313"/>
              <a:gd name="connsiteX123" fmla="*/ 6159484 w 6846047"/>
              <a:gd name="connsiteY123" fmla="*/ 498116 h 6856313"/>
              <a:gd name="connsiteX124" fmla="*/ 6150279 w 6846047"/>
              <a:gd name="connsiteY124" fmla="*/ 521038 h 6856313"/>
              <a:gd name="connsiteX125" fmla="*/ 6159484 w 6846047"/>
              <a:gd name="connsiteY125" fmla="*/ 543960 h 6856313"/>
              <a:gd name="connsiteX126" fmla="*/ 6181953 w 6846047"/>
              <a:gd name="connsiteY126" fmla="*/ 553306 h 6856313"/>
              <a:gd name="connsiteX127" fmla="*/ 6204472 w 6846047"/>
              <a:gd name="connsiteY127" fmla="*/ 543960 h 6856313"/>
              <a:gd name="connsiteX128" fmla="*/ 6213728 w 6846047"/>
              <a:gd name="connsiteY128" fmla="*/ 521038 h 6856313"/>
              <a:gd name="connsiteX129" fmla="*/ 6204472 w 6846047"/>
              <a:gd name="connsiteY129" fmla="*/ 498116 h 6856313"/>
              <a:gd name="connsiteX130" fmla="*/ 6181953 w 6846047"/>
              <a:gd name="connsiteY130" fmla="*/ 488770 h 6856313"/>
              <a:gd name="connsiteX131" fmla="*/ 6552428 w 6846047"/>
              <a:gd name="connsiteY131" fmla="*/ 390622 h 6856313"/>
              <a:gd name="connsiteX132" fmla="*/ 6552428 w 6846047"/>
              <a:gd name="connsiteY132" fmla="*/ 413696 h 6856313"/>
              <a:gd name="connsiteX133" fmla="*/ 6556993 w 6846047"/>
              <a:gd name="connsiteY133" fmla="*/ 413696 h 6856313"/>
              <a:gd name="connsiteX134" fmla="*/ 6556993 w 6846047"/>
              <a:gd name="connsiteY134" fmla="*/ 398752 h 6856313"/>
              <a:gd name="connsiteX135" fmla="*/ 6563485 w 6846047"/>
              <a:gd name="connsiteY135" fmla="*/ 409441 h 6856313"/>
              <a:gd name="connsiteX136" fmla="*/ 6564017 w 6846047"/>
              <a:gd name="connsiteY136" fmla="*/ 409441 h 6856313"/>
              <a:gd name="connsiteX137" fmla="*/ 6570534 w 6846047"/>
              <a:gd name="connsiteY137" fmla="*/ 398727 h 6856313"/>
              <a:gd name="connsiteX138" fmla="*/ 6570534 w 6846047"/>
              <a:gd name="connsiteY138" fmla="*/ 413696 h 6856313"/>
              <a:gd name="connsiteX139" fmla="*/ 6575049 w 6846047"/>
              <a:gd name="connsiteY139" fmla="*/ 413696 h 6856313"/>
              <a:gd name="connsiteX140" fmla="*/ 6575049 w 6846047"/>
              <a:gd name="connsiteY140" fmla="*/ 390622 h 6856313"/>
              <a:gd name="connsiteX141" fmla="*/ 6570357 w 6846047"/>
              <a:gd name="connsiteY141" fmla="*/ 390622 h 6856313"/>
              <a:gd name="connsiteX142" fmla="*/ 6563764 w 6846047"/>
              <a:gd name="connsiteY142" fmla="*/ 401538 h 6856313"/>
              <a:gd name="connsiteX143" fmla="*/ 6557119 w 6846047"/>
              <a:gd name="connsiteY143" fmla="*/ 390622 h 6856313"/>
              <a:gd name="connsiteX144" fmla="*/ 6540027 w 6846047"/>
              <a:gd name="connsiteY144" fmla="*/ 389685 h 6856313"/>
              <a:gd name="connsiteX145" fmla="*/ 6532445 w 6846047"/>
              <a:gd name="connsiteY145" fmla="*/ 396549 h 6856313"/>
              <a:gd name="connsiteX146" fmla="*/ 6539418 w 6846047"/>
              <a:gd name="connsiteY146" fmla="*/ 403438 h 6856313"/>
              <a:gd name="connsiteX147" fmla="*/ 6544414 w 6846047"/>
              <a:gd name="connsiteY147" fmla="*/ 406807 h 6856313"/>
              <a:gd name="connsiteX148" fmla="*/ 6540712 w 6846047"/>
              <a:gd name="connsiteY148" fmla="*/ 409238 h 6856313"/>
              <a:gd name="connsiteX149" fmla="*/ 6535386 w 6846047"/>
              <a:gd name="connsiteY149" fmla="*/ 405718 h 6856313"/>
              <a:gd name="connsiteX150" fmla="*/ 6531481 w 6846047"/>
              <a:gd name="connsiteY150" fmla="*/ 407997 h 6856313"/>
              <a:gd name="connsiteX151" fmla="*/ 6540560 w 6846047"/>
              <a:gd name="connsiteY151" fmla="*/ 413696 h 6856313"/>
              <a:gd name="connsiteX152" fmla="*/ 6548954 w 6846047"/>
              <a:gd name="connsiteY152" fmla="*/ 406731 h 6856313"/>
              <a:gd name="connsiteX153" fmla="*/ 6541397 w 6846047"/>
              <a:gd name="connsiteY153" fmla="*/ 399664 h 6856313"/>
              <a:gd name="connsiteX154" fmla="*/ 6537009 w 6846047"/>
              <a:gd name="connsiteY154" fmla="*/ 396422 h 6856313"/>
              <a:gd name="connsiteX155" fmla="*/ 6540052 w 6846047"/>
              <a:gd name="connsiteY155" fmla="*/ 394117 h 6856313"/>
              <a:gd name="connsiteX156" fmla="*/ 6544465 w 6846047"/>
              <a:gd name="connsiteY156" fmla="*/ 397081 h 6856313"/>
              <a:gd name="connsiteX157" fmla="*/ 6548294 w 6846047"/>
              <a:gd name="connsiteY157" fmla="*/ 394877 h 6856313"/>
              <a:gd name="connsiteX158" fmla="*/ 6540027 w 6846047"/>
              <a:gd name="connsiteY158" fmla="*/ 389685 h 6856313"/>
              <a:gd name="connsiteX159" fmla="*/ 5893389 w 6846047"/>
              <a:gd name="connsiteY159" fmla="*/ 351213 h 6856313"/>
              <a:gd name="connsiteX160" fmla="*/ 5893407 w 6846047"/>
              <a:gd name="connsiteY160" fmla="*/ 351239 h 6856313"/>
              <a:gd name="connsiteX161" fmla="*/ 5893389 w 6846047"/>
              <a:gd name="connsiteY161" fmla="*/ 351239 h 6856313"/>
              <a:gd name="connsiteX162" fmla="*/ 6370500 w 6846047"/>
              <a:gd name="connsiteY162" fmla="*/ 289665 h 6856313"/>
              <a:gd name="connsiteX163" fmla="*/ 6402098 w 6846047"/>
              <a:gd name="connsiteY163" fmla="*/ 302203 h 6856313"/>
              <a:gd name="connsiteX164" fmla="*/ 6414651 w 6846047"/>
              <a:gd name="connsiteY164" fmla="*/ 334395 h 6856313"/>
              <a:gd name="connsiteX165" fmla="*/ 6402098 w 6846047"/>
              <a:gd name="connsiteY165" fmla="*/ 366587 h 6856313"/>
              <a:gd name="connsiteX166" fmla="*/ 6370500 w 6846047"/>
              <a:gd name="connsiteY166" fmla="*/ 379124 h 6856313"/>
              <a:gd name="connsiteX167" fmla="*/ 6339055 w 6846047"/>
              <a:gd name="connsiteY167" fmla="*/ 366587 h 6856313"/>
              <a:gd name="connsiteX168" fmla="*/ 6326654 w 6846047"/>
              <a:gd name="connsiteY168" fmla="*/ 334395 h 6856313"/>
              <a:gd name="connsiteX169" fmla="*/ 6339055 w 6846047"/>
              <a:gd name="connsiteY169" fmla="*/ 302203 h 6856313"/>
              <a:gd name="connsiteX170" fmla="*/ 6370500 w 6846047"/>
              <a:gd name="connsiteY170" fmla="*/ 289665 h 6856313"/>
              <a:gd name="connsiteX171" fmla="*/ 5934370 w 6846047"/>
              <a:gd name="connsiteY171" fmla="*/ 287437 h 6856313"/>
              <a:gd name="connsiteX172" fmla="*/ 5959298 w 6846047"/>
              <a:gd name="connsiteY172" fmla="*/ 295365 h 6856313"/>
              <a:gd name="connsiteX173" fmla="*/ 5973753 w 6846047"/>
              <a:gd name="connsiteY173" fmla="*/ 319477 h 6856313"/>
              <a:gd name="connsiteX174" fmla="*/ 5892755 w 6846047"/>
              <a:gd name="connsiteY174" fmla="*/ 319477 h 6856313"/>
              <a:gd name="connsiteX175" fmla="*/ 5907058 w 6846047"/>
              <a:gd name="connsiteY175" fmla="*/ 295846 h 6856313"/>
              <a:gd name="connsiteX176" fmla="*/ 5934370 w 6846047"/>
              <a:gd name="connsiteY176" fmla="*/ 287437 h 6856313"/>
              <a:gd name="connsiteX177" fmla="*/ 6071615 w 6846047"/>
              <a:gd name="connsiteY177" fmla="*/ 282315 h 6856313"/>
              <a:gd name="connsiteX178" fmla="*/ 6071615 w 6846047"/>
              <a:gd name="connsiteY178" fmla="*/ 282346 h 6856313"/>
              <a:gd name="connsiteX179" fmla="*/ 6071589 w 6846047"/>
              <a:gd name="connsiteY179" fmla="*/ 282346 h 6856313"/>
              <a:gd name="connsiteX180" fmla="*/ 5509042 w 6846047"/>
              <a:gd name="connsiteY180" fmla="*/ 255472 h 6856313"/>
              <a:gd name="connsiteX181" fmla="*/ 5509042 w 6846047"/>
              <a:gd name="connsiteY181" fmla="*/ 268922 h 6856313"/>
              <a:gd name="connsiteX182" fmla="*/ 5509042 w 6846047"/>
              <a:gd name="connsiteY182" fmla="*/ 413443 h 6856313"/>
              <a:gd name="connsiteX183" fmla="*/ 5509042 w 6846047"/>
              <a:gd name="connsiteY183" fmla="*/ 413722 h 6856313"/>
              <a:gd name="connsiteX184" fmla="*/ 5552888 w 6846047"/>
              <a:gd name="connsiteY184" fmla="*/ 413722 h 6856313"/>
              <a:gd name="connsiteX185" fmla="*/ 5552888 w 6846047"/>
              <a:gd name="connsiteY185" fmla="*/ 413443 h 6856313"/>
              <a:gd name="connsiteX186" fmla="*/ 5552888 w 6846047"/>
              <a:gd name="connsiteY186" fmla="*/ 268922 h 6856313"/>
              <a:gd name="connsiteX187" fmla="*/ 5552888 w 6846047"/>
              <a:gd name="connsiteY187" fmla="*/ 255472 h 6856313"/>
              <a:gd name="connsiteX188" fmla="*/ 6125909 w 6846047"/>
              <a:gd name="connsiteY188" fmla="*/ 255068 h 6856313"/>
              <a:gd name="connsiteX189" fmla="*/ 6186264 w 6846047"/>
              <a:gd name="connsiteY189" fmla="*/ 413697 h 6856313"/>
              <a:gd name="connsiteX190" fmla="*/ 6232976 w 6846047"/>
              <a:gd name="connsiteY190" fmla="*/ 413697 h 6856313"/>
              <a:gd name="connsiteX191" fmla="*/ 6293332 w 6846047"/>
              <a:gd name="connsiteY191" fmla="*/ 255068 h 6856313"/>
              <a:gd name="connsiteX192" fmla="*/ 6248217 w 6846047"/>
              <a:gd name="connsiteY192" fmla="*/ 255068 h 6856313"/>
              <a:gd name="connsiteX193" fmla="*/ 6209468 w 6846047"/>
              <a:gd name="connsiteY193" fmla="*/ 366106 h 6856313"/>
              <a:gd name="connsiteX194" fmla="*/ 6171023 w 6846047"/>
              <a:gd name="connsiteY194" fmla="*/ 255068 h 6856313"/>
              <a:gd name="connsiteX195" fmla="*/ 6119874 w 6846047"/>
              <a:gd name="connsiteY195" fmla="*/ 255042 h 6856313"/>
              <a:gd name="connsiteX196" fmla="*/ 6090482 w 6846047"/>
              <a:gd name="connsiteY196" fmla="*/ 259500 h 6856313"/>
              <a:gd name="connsiteX197" fmla="*/ 6071615 w 6846047"/>
              <a:gd name="connsiteY197" fmla="*/ 282315 h 6856313"/>
              <a:gd name="connsiteX198" fmla="*/ 6071615 w 6846047"/>
              <a:gd name="connsiteY198" fmla="*/ 255067 h 6856313"/>
              <a:gd name="connsiteX199" fmla="*/ 6030634 w 6846047"/>
              <a:gd name="connsiteY199" fmla="*/ 255067 h 6856313"/>
              <a:gd name="connsiteX200" fmla="*/ 6030634 w 6846047"/>
              <a:gd name="connsiteY200" fmla="*/ 413697 h 6856313"/>
              <a:gd name="connsiteX201" fmla="*/ 6071615 w 6846047"/>
              <a:gd name="connsiteY201" fmla="*/ 413697 h 6856313"/>
              <a:gd name="connsiteX202" fmla="*/ 6071615 w 6846047"/>
              <a:gd name="connsiteY202" fmla="*/ 337865 h 6856313"/>
              <a:gd name="connsiteX203" fmla="*/ 6086374 w 6846047"/>
              <a:gd name="connsiteY203" fmla="*/ 305192 h 6856313"/>
              <a:gd name="connsiteX204" fmla="*/ 6119874 w 6846047"/>
              <a:gd name="connsiteY204" fmla="*/ 297568 h 6856313"/>
              <a:gd name="connsiteX205" fmla="*/ 5934344 w 6846047"/>
              <a:gd name="connsiteY205" fmla="*/ 250661 h 6856313"/>
              <a:gd name="connsiteX206" fmla="*/ 5873989 w 6846047"/>
              <a:gd name="connsiteY206" fmla="*/ 274621 h 6856313"/>
              <a:gd name="connsiteX207" fmla="*/ 5850481 w 6846047"/>
              <a:gd name="connsiteY207" fmla="*/ 334421 h 6856313"/>
              <a:gd name="connsiteX208" fmla="*/ 5874319 w 6846047"/>
              <a:gd name="connsiteY208" fmla="*/ 394372 h 6856313"/>
              <a:gd name="connsiteX209" fmla="*/ 5937540 w 6846047"/>
              <a:gd name="connsiteY209" fmla="*/ 418155 h 6856313"/>
              <a:gd name="connsiteX210" fmla="*/ 6006796 w 6846047"/>
              <a:gd name="connsiteY210" fmla="*/ 384216 h 6856313"/>
              <a:gd name="connsiteX211" fmla="*/ 5973753 w 6846047"/>
              <a:gd name="connsiteY211" fmla="*/ 365169 h 6856313"/>
              <a:gd name="connsiteX212" fmla="*/ 5938174 w 6846047"/>
              <a:gd name="connsiteY212" fmla="*/ 381024 h 6856313"/>
              <a:gd name="connsiteX213" fmla="*/ 5908716 w 6846047"/>
              <a:gd name="connsiteY213" fmla="*/ 373575 h 6856313"/>
              <a:gd name="connsiteX214" fmla="*/ 5893407 w 6846047"/>
              <a:gd name="connsiteY214" fmla="*/ 351239 h 6856313"/>
              <a:gd name="connsiteX215" fmla="*/ 6013136 w 6846047"/>
              <a:gd name="connsiteY215" fmla="*/ 351239 h 6856313"/>
              <a:gd name="connsiteX216" fmla="*/ 6014734 w 6846047"/>
              <a:gd name="connsiteY216" fmla="*/ 334421 h 6856313"/>
              <a:gd name="connsiteX217" fmla="*/ 5992012 w 6846047"/>
              <a:gd name="connsiteY217" fmla="*/ 274773 h 6856313"/>
              <a:gd name="connsiteX218" fmla="*/ 5934344 w 6846047"/>
              <a:gd name="connsiteY218" fmla="*/ 250661 h 6856313"/>
              <a:gd name="connsiteX219" fmla="*/ 5667868 w 6846047"/>
              <a:gd name="connsiteY219" fmla="*/ 250635 h 6856313"/>
              <a:gd name="connsiteX220" fmla="*/ 5620522 w 6846047"/>
              <a:gd name="connsiteY220" fmla="*/ 272822 h 6856313"/>
              <a:gd name="connsiteX221" fmla="*/ 5620522 w 6846047"/>
              <a:gd name="connsiteY221" fmla="*/ 255067 h 6856313"/>
              <a:gd name="connsiteX222" fmla="*/ 5579541 w 6846047"/>
              <a:gd name="connsiteY222" fmla="*/ 255067 h 6856313"/>
              <a:gd name="connsiteX223" fmla="*/ 5579541 w 6846047"/>
              <a:gd name="connsiteY223" fmla="*/ 413722 h 6856313"/>
              <a:gd name="connsiteX224" fmla="*/ 5620522 w 6846047"/>
              <a:gd name="connsiteY224" fmla="*/ 413722 h 6856313"/>
              <a:gd name="connsiteX225" fmla="*/ 5620522 w 6846047"/>
              <a:gd name="connsiteY225" fmla="*/ 328063 h 6856313"/>
              <a:gd name="connsiteX226" fmla="*/ 5630057 w 6846047"/>
              <a:gd name="connsiteY226" fmla="*/ 298556 h 6856313"/>
              <a:gd name="connsiteX227" fmla="*/ 5655467 w 6846047"/>
              <a:gd name="connsiteY227" fmla="*/ 288728 h 6856313"/>
              <a:gd name="connsiteX228" fmla="*/ 5678341 w 6846047"/>
              <a:gd name="connsiteY228" fmla="*/ 297137 h 6856313"/>
              <a:gd name="connsiteX229" fmla="*/ 5686913 w 6846047"/>
              <a:gd name="connsiteY229" fmla="*/ 321401 h 6856313"/>
              <a:gd name="connsiteX230" fmla="*/ 5686913 w 6846047"/>
              <a:gd name="connsiteY230" fmla="*/ 413722 h 6856313"/>
              <a:gd name="connsiteX231" fmla="*/ 5727893 w 6846047"/>
              <a:gd name="connsiteY231" fmla="*/ 413722 h 6856313"/>
              <a:gd name="connsiteX232" fmla="*/ 5727893 w 6846047"/>
              <a:gd name="connsiteY232" fmla="*/ 316311 h 6856313"/>
              <a:gd name="connsiteX233" fmla="*/ 5710903 w 6846047"/>
              <a:gd name="connsiteY233" fmla="*/ 268086 h 6856313"/>
              <a:gd name="connsiteX234" fmla="*/ 5667868 w 6846047"/>
              <a:gd name="connsiteY234" fmla="*/ 250635 h 6856313"/>
              <a:gd name="connsiteX235" fmla="*/ 6362867 w 6846047"/>
              <a:gd name="connsiteY235" fmla="*/ 250635 h 6856313"/>
              <a:gd name="connsiteX236" fmla="*/ 6308395 w 6846047"/>
              <a:gd name="connsiteY236" fmla="*/ 274899 h 6856313"/>
              <a:gd name="connsiteX237" fmla="*/ 6285673 w 6846047"/>
              <a:gd name="connsiteY237" fmla="*/ 334369 h 6856313"/>
              <a:gd name="connsiteX238" fmla="*/ 6308395 w 6846047"/>
              <a:gd name="connsiteY238" fmla="*/ 393865 h 6856313"/>
              <a:gd name="connsiteX239" fmla="*/ 6362867 w 6846047"/>
              <a:gd name="connsiteY239" fmla="*/ 418129 h 6856313"/>
              <a:gd name="connsiteX240" fmla="*/ 6414651 w 6846047"/>
              <a:gd name="connsiteY240" fmla="*/ 394979 h 6856313"/>
              <a:gd name="connsiteX241" fmla="*/ 6414651 w 6846047"/>
              <a:gd name="connsiteY241" fmla="*/ 413697 h 6856313"/>
              <a:gd name="connsiteX242" fmla="*/ 6455631 w 6846047"/>
              <a:gd name="connsiteY242" fmla="*/ 413697 h 6856313"/>
              <a:gd name="connsiteX243" fmla="*/ 6455631 w 6846047"/>
              <a:gd name="connsiteY243" fmla="*/ 255067 h 6856313"/>
              <a:gd name="connsiteX244" fmla="*/ 6414651 w 6846047"/>
              <a:gd name="connsiteY244" fmla="*/ 255067 h 6856313"/>
              <a:gd name="connsiteX245" fmla="*/ 6414651 w 6846047"/>
              <a:gd name="connsiteY245" fmla="*/ 273810 h 6856313"/>
              <a:gd name="connsiteX246" fmla="*/ 6362867 w 6846047"/>
              <a:gd name="connsiteY246" fmla="*/ 250635 h 6856313"/>
              <a:gd name="connsiteX247" fmla="*/ 6480103 w 6846047"/>
              <a:gd name="connsiteY247" fmla="*/ 211301 h 6856313"/>
              <a:gd name="connsiteX248" fmla="*/ 6480103 w 6846047"/>
              <a:gd name="connsiteY248" fmla="*/ 413723 h 6856313"/>
              <a:gd name="connsiteX249" fmla="*/ 6521084 w 6846047"/>
              <a:gd name="connsiteY249" fmla="*/ 413723 h 6856313"/>
              <a:gd name="connsiteX250" fmla="*/ 6521084 w 6846047"/>
              <a:gd name="connsiteY250" fmla="*/ 211301 h 6856313"/>
              <a:gd name="connsiteX251" fmla="*/ 5509042 w 6846047"/>
              <a:gd name="connsiteY251" fmla="*/ 211301 h 6856313"/>
              <a:gd name="connsiteX252" fmla="*/ 5509200 w 6846047"/>
              <a:gd name="connsiteY252" fmla="*/ 211680 h 6856313"/>
              <a:gd name="connsiteX253" fmla="*/ 5509042 w 6846047"/>
              <a:gd name="connsiteY253" fmla="*/ 211680 h 6856313"/>
              <a:gd name="connsiteX254" fmla="*/ 5552888 w 6846047"/>
              <a:gd name="connsiteY254" fmla="*/ 255472 h 6856313"/>
              <a:gd name="connsiteX255" fmla="*/ 5552888 w 6846047"/>
              <a:gd name="connsiteY255" fmla="*/ 255093 h 6856313"/>
              <a:gd name="connsiteX256" fmla="*/ 5552888 w 6846047"/>
              <a:gd name="connsiteY256" fmla="*/ 211680 h 6856313"/>
              <a:gd name="connsiteX257" fmla="*/ 5552888 w 6846047"/>
              <a:gd name="connsiteY257" fmla="*/ 211301 h 6856313"/>
              <a:gd name="connsiteX258" fmla="*/ 5761267 w 6846047"/>
              <a:gd name="connsiteY258" fmla="*/ 211301 h 6856313"/>
              <a:gd name="connsiteX259" fmla="*/ 5774099 w 6846047"/>
              <a:gd name="connsiteY259" fmla="*/ 242248 h 6856313"/>
              <a:gd name="connsiteX260" fmla="*/ 5805055 w 6846047"/>
              <a:gd name="connsiteY260" fmla="*/ 255068 h 6856313"/>
              <a:gd name="connsiteX261" fmla="*/ 5764107 w 6846047"/>
              <a:gd name="connsiteY261" fmla="*/ 255068 h 6856313"/>
              <a:gd name="connsiteX262" fmla="*/ 5736465 w 6846047"/>
              <a:gd name="connsiteY262" fmla="*/ 255068 h 6856313"/>
              <a:gd name="connsiteX263" fmla="*/ 5736465 w 6846047"/>
              <a:gd name="connsiteY263" fmla="*/ 294428 h 6856313"/>
              <a:gd name="connsiteX264" fmla="*/ 5764107 w 6846047"/>
              <a:gd name="connsiteY264" fmla="*/ 294428 h 6856313"/>
              <a:gd name="connsiteX265" fmla="*/ 5764107 w 6846047"/>
              <a:gd name="connsiteY265" fmla="*/ 360407 h 6856313"/>
              <a:gd name="connsiteX266" fmla="*/ 5781427 w 6846047"/>
              <a:gd name="connsiteY266" fmla="*/ 405770 h 6856313"/>
              <a:gd name="connsiteX267" fmla="*/ 5840996 w 6846047"/>
              <a:gd name="connsiteY267" fmla="*/ 413697 h 6856313"/>
              <a:gd name="connsiteX268" fmla="*/ 5840996 w 6846047"/>
              <a:gd name="connsiteY268" fmla="*/ 376567 h 6856313"/>
              <a:gd name="connsiteX269" fmla="*/ 5821292 w 6846047"/>
              <a:gd name="connsiteY269" fmla="*/ 376718 h 6856313"/>
              <a:gd name="connsiteX270" fmla="*/ 5809221 w 6846047"/>
              <a:gd name="connsiteY270" fmla="*/ 372438 h 6856313"/>
              <a:gd name="connsiteX271" fmla="*/ 5805087 w 6846047"/>
              <a:gd name="connsiteY271" fmla="*/ 360382 h 6856313"/>
              <a:gd name="connsiteX272" fmla="*/ 5805087 w 6846047"/>
              <a:gd name="connsiteY272" fmla="*/ 294402 h 6856313"/>
              <a:gd name="connsiteX273" fmla="*/ 5840996 w 6846047"/>
              <a:gd name="connsiteY273" fmla="*/ 294402 h 6856313"/>
              <a:gd name="connsiteX274" fmla="*/ 5840996 w 6846047"/>
              <a:gd name="connsiteY274" fmla="*/ 255068 h 6856313"/>
              <a:gd name="connsiteX275" fmla="*/ 5805113 w 6846047"/>
              <a:gd name="connsiteY275" fmla="*/ 255068 h 6856313"/>
              <a:gd name="connsiteX276" fmla="*/ 5805113 w 6846047"/>
              <a:gd name="connsiteY276" fmla="*/ 211301 h 6856313"/>
              <a:gd name="connsiteX277" fmla="*/ 0 w 6846047"/>
              <a:gd name="connsiteY277" fmla="*/ 0 h 6856313"/>
              <a:gd name="connsiteX278" fmla="*/ 6846047 w 6846047"/>
              <a:gd name="connsiteY278" fmla="*/ 0 h 6856313"/>
              <a:gd name="connsiteX279" fmla="*/ 6846047 w 6846047"/>
              <a:gd name="connsiteY279" fmla="*/ 6856313 h 6856313"/>
              <a:gd name="connsiteX280" fmla="*/ 6846045 w 6846047"/>
              <a:gd name="connsiteY280" fmla="*/ 6856313 h 6856313"/>
              <a:gd name="connsiteX281" fmla="*/ 6846045 w 6846047"/>
              <a:gd name="connsiteY281" fmla="*/ 6700738 h 6856313"/>
              <a:gd name="connsiteX282" fmla="*/ 6846045 w 6846047"/>
              <a:gd name="connsiteY282" fmla="*/ 6512322 h 6856313"/>
              <a:gd name="connsiteX283" fmla="*/ 6846045 w 6846047"/>
              <a:gd name="connsiteY283" fmla="*/ 6507093 h 6856313"/>
              <a:gd name="connsiteX284" fmla="*/ 6846045 w 6846047"/>
              <a:gd name="connsiteY284" fmla="*/ 6498173 h 6856313"/>
              <a:gd name="connsiteX285" fmla="*/ 6846045 w 6846047"/>
              <a:gd name="connsiteY285" fmla="*/ 6492502 h 6856313"/>
              <a:gd name="connsiteX286" fmla="*/ 6605592 w 6846047"/>
              <a:gd name="connsiteY286" fmla="*/ 6475924 h 6856313"/>
              <a:gd name="connsiteX287" fmla="*/ 36364 w 6846047"/>
              <a:gd name="connsiteY287" fmla="*/ 286328 h 6856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Lst>
            <a:rect l="l" t="t" r="r" b="b"/>
            <a:pathLst>
              <a:path w="6846047" h="6856313">
                <a:moveTo>
                  <a:pt x="6036492" y="504119"/>
                </a:moveTo>
                <a:lnTo>
                  <a:pt x="6044861" y="529472"/>
                </a:lnTo>
                <a:lnTo>
                  <a:pt x="6028123" y="529472"/>
                </a:lnTo>
                <a:close/>
                <a:moveTo>
                  <a:pt x="6314811" y="504119"/>
                </a:moveTo>
                <a:lnTo>
                  <a:pt x="6323180" y="529472"/>
                </a:lnTo>
                <a:lnTo>
                  <a:pt x="6306442" y="529472"/>
                </a:lnTo>
                <a:close/>
                <a:moveTo>
                  <a:pt x="5902316" y="501434"/>
                </a:moveTo>
                <a:lnTo>
                  <a:pt x="5914716" y="501434"/>
                </a:lnTo>
                <a:cubicBezTo>
                  <a:pt x="5916973" y="501434"/>
                  <a:pt x="5918926" y="502320"/>
                  <a:pt x="5920549" y="504093"/>
                </a:cubicBezTo>
                <a:cubicBezTo>
                  <a:pt x="5922172" y="505866"/>
                  <a:pt x="5922984" y="508019"/>
                  <a:pt x="5922984" y="510577"/>
                </a:cubicBezTo>
                <a:cubicBezTo>
                  <a:pt x="5922984" y="513135"/>
                  <a:pt x="5922172" y="515288"/>
                  <a:pt x="5920549" y="517087"/>
                </a:cubicBezTo>
                <a:cubicBezTo>
                  <a:pt x="5918926" y="518885"/>
                  <a:pt x="5916973" y="519797"/>
                  <a:pt x="5914716" y="519797"/>
                </a:cubicBezTo>
                <a:lnTo>
                  <a:pt x="5902316" y="519797"/>
                </a:lnTo>
                <a:close/>
                <a:moveTo>
                  <a:pt x="6181953" y="500649"/>
                </a:moveTo>
                <a:cubicBezTo>
                  <a:pt x="6187532" y="500649"/>
                  <a:pt x="6192223" y="502574"/>
                  <a:pt x="6196002" y="506424"/>
                </a:cubicBezTo>
                <a:cubicBezTo>
                  <a:pt x="6199780" y="510274"/>
                  <a:pt x="6201682" y="515136"/>
                  <a:pt x="6201682" y="521038"/>
                </a:cubicBezTo>
                <a:cubicBezTo>
                  <a:pt x="6201657" y="526965"/>
                  <a:pt x="6199780" y="531802"/>
                  <a:pt x="6196002" y="535627"/>
                </a:cubicBezTo>
                <a:cubicBezTo>
                  <a:pt x="6192223" y="539451"/>
                  <a:pt x="6187532" y="541351"/>
                  <a:pt x="6181953" y="541351"/>
                </a:cubicBezTo>
                <a:cubicBezTo>
                  <a:pt x="6176374" y="541351"/>
                  <a:pt x="6171682" y="539451"/>
                  <a:pt x="6167904" y="535627"/>
                </a:cubicBezTo>
                <a:cubicBezTo>
                  <a:pt x="6164125" y="531802"/>
                  <a:pt x="6162223" y="526965"/>
                  <a:pt x="6162223" y="521038"/>
                </a:cubicBezTo>
                <a:cubicBezTo>
                  <a:pt x="6162223" y="515136"/>
                  <a:pt x="6164125" y="510248"/>
                  <a:pt x="6167904" y="506424"/>
                </a:cubicBezTo>
                <a:cubicBezTo>
                  <a:pt x="6171682" y="502574"/>
                  <a:pt x="6176374" y="500649"/>
                  <a:pt x="6181953" y="500649"/>
                </a:cubicBezTo>
                <a:close/>
                <a:moveTo>
                  <a:pt x="5693887" y="490012"/>
                </a:moveTo>
                <a:lnTo>
                  <a:pt x="5693887" y="552066"/>
                </a:lnTo>
                <a:lnTo>
                  <a:pt x="5705933" y="552066"/>
                </a:lnTo>
                <a:lnTo>
                  <a:pt x="5705933" y="490012"/>
                </a:lnTo>
                <a:close/>
                <a:moveTo>
                  <a:pt x="5722492" y="490011"/>
                </a:moveTo>
                <a:lnTo>
                  <a:pt x="5722492" y="552065"/>
                </a:lnTo>
                <a:lnTo>
                  <a:pt x="5734538" y="552065"/>
                </a:lnTo>
                <a:lnTo>
                  <a:pt x="5734538" y="514123"/>
                </a:lnTo>
                <a:lnTo>
                  <a:pt x="5760709" y="552065"/>
                </a:lnTo>
                <a:lnTo>
                  <a:pt x="5769863" y="552065"/>
                </a:lnTo>
                <a:lnTo>
                  <a:pt x="5769863" y="490011"/>
                </a:lnTo>
                <a:lnTo>
                  <a:pt x="5757818" y="490011"/>
                </a:lnTo>
                <a:lnTo>
                  <a:pt x="5757818" y="527877"/>
                </a:lnTo>
                <a:lnTo>
                  <a:pt x="5731647" y="490011"/>
                </a:lnTo>
                <a:close/>
                <a:moveTo>
                  <a:pt x="5781909" y="490011"/>
                </a:moveTo>
                <a:lnTo>
                  <a:pt x="5781909" y="501713"/>
                </a:lnTo>
                <a:lnTo>
                  <a:pt x="5798317" y="501713"/>
                </a:lnTo>
                <a:lnTo>
                  <a:pt x="5798317" y="552065"/>
                </a:lnTo>
                <a:lnTo>
                  <a:pt x="5810362" y="552065"/>
                </a:lnTo>
                <a:lnTo>
                  <a:pt x="5810362" y="501713"/>
                </a:lnTo>
                <a:lnTo>
                  <a:pt x="5826846" y="501713"/>
                </a:lnTo>
                <a:lnTo>
                  <a:pt x="5826846" y="490011"/>
                </a:lnTo>
                <a:close/>
                <a:moveTo>
                  <a:pt x="5838790" y="490011"/>
                </a:moveTo>
                <a:lnTo>
                  <a:pt x="5838790" y="552065"/>
                </a:lnTo>
                <a:lnTo>
                  <a:pt x="5876575" y="552065"/>
                </a:lnTo>
                <a:lnTo>
                  <a:pt x="5876575" y="540363"/>
                </a:lnTo>
                <a:lnTo>
                  <a:pt x="5850836" y="540363"/>
                </a:lnTo>
                <a:lnTo>
                  <a:pt x="5850836" y="526458"/>
                </a:lnTo>
                <a:lnTo>
                  <a:pt x="5873963" y="526458"/>
                </a:lnTo>
                <a:lnTo>
                  <a:pt x="5873963" y="514934"/>
                </a:lnTo>
                <a:lnTo>
                  <a:pt x="5850836" y="514934"/>
                </a:lnTo>
                <a:lnTo>
                  <a:pt x="5850836" y="501713"/>
                </a:lnTo>
                <a:lnTo>
                  <a:pt x="5876144" y="501713"/>
                </a:lnTo>
                <a:lnTo>
                  <a:pt x="5876144" y="490011"/>
                </a:lnTo>
                <a:close/>
                <a:moveTo>
                  <a:pt x="5949078" y="490011"/>
                </a:moveTo>
                <a:lnTo>
                  <a:pt x="5949078" y="552065"/>
                </a:lnTo>
                <a:lnTo>
                  <a:pt x="5961124" y="552065"/>
                </a:lnTo>
                <a:lnTo>
                  <a:pt x="5961124" y="514123"/>
                </a:lnTo>
                <a:lnTo>
                  <a:pt x="5987294" y="552065"/>
                </a:lnTo>
                <a:lnTo>
                  <a:pt x="5996449" y="552065"/>
                </a:lnTo>
                <a:lnTo>
                  <a:pt x="5996449" y="490011"/>
                </a:lnTo>
                <a:lnTo>
                  <a:pt x="5984429" y="490011"/>
                </a:lnTo>
                <a:lnTo>
                  <a:pt x="5984429" y="527876"/>
                </a:lnTo>
                <a:lnTo>
                  <a:pt x="5958233" y="490011"/>
                </a:lnTo>
                <a:close/>
                <a:moveTo>
                  <a:pt x="5890270" y="490011"/>
                </a:moveTo>
                <a:lnTo>
                  <a:pt x="5890270" y="552065"/>
                </a:lnTo>
                <a:lnTo>
                  <a:pt x="5902316" y="552065"/>
                </a:lnTo>
                <a:lnTo>
                  <a:pt x="5902316" y="530536"/>
                </a:lnTo>
                <a:lnTo>
                  <a:pt x="5911470" y="530536"/>
                </a:lnTo>
                <a:lnTo>
                  <a:pt x="5923770" y="552065"/>
                </a:lnTo>
                <a:lnTo>
                  <a:pt x="5936779" y="552065"/>
                </a:lnTo>
                <a:lnTo>
                  <a:pt x="5923263" y="528662"/>
                </a:lnTo>
                <a:cubicBezTo>
                  <a:pt x="5926813" y="527015"/>
                  <a:pt x="5929653" y="524533"/>
                  <a:pt x="5931809" y="521266"/>
                </a:cubicBezTo>
                <a:cubicBezTo>
                  <a:pt x="5933964" y="517973"/>
                  <a:pt x="5935029" y="514427"/>
                  <a:pt x="5935029" y="510577"/>
                </a:cubicBezTo>
                <a:cubicBezTo>
                  <a:pt x="5935029" y="504904"/>
                  <a:pt x="5933051" y="500066"/>
                  <a:pt x="5929095" y="496039"/>
                </a:cubicBezTo>
                <a:cubicBezTo>
                  <a:pt x="5925139" y="492012"/>
                  <a:pt x="5920346" y="490011"/>
                  <a:pt x="5914691" y="490011"/>
                </a:cubicBezTo>
                <a:close/>
                <a:moveTo>
                  <a:pt x="6029011" y="490011"/>
                </a:moveTo>
                <a:lnTo>
                  <a:pt x="6007633" y="552065"/>
                </a:lnTo>
                <a:lnTo>
                  <a:pt x="6020642" y="552065"/>
                </a:lnTo>
                <a:lnTo>
                  <a:pt x="6024319" y="540895"/>
                </a:lnTo>
                <a:lnTo>
                  <a:pt x="6048664" y="540895"/>
                </a:lnTo>
                <a:lnTo>
                  <a:pt x="6052316" y="552065"/>
                </a:lnTo>
                <a:lnTo>
                  <a:pt x="6065402" y="552065"/>
                </a:lnTo>
                <a:lnTo>
                  <a:pt x="6043948" y="490011"/>
                </a:lnTo>
                <a:close/>
                <a:moveTo>
                  <a:pt x="6067557" y="490011"/>
                </a:moveTo>
                <a:lnTo>
                  <a:pt x="6067557" y="501713"/>
                </a:lnTo>
                <a:lnTo>
                  <a:pt x="6083964" y="501713"/>
                </a:lnTo>
                <a:lnTo>
                  <a:pt x="6083964" y="552065"/>
                </a:lnTo>
                <a:lnTo>
                  <a:pt x="6096010" y="552065"/>
                </a:lnTo>
                <a:lnTo>
                  <a:pt x="6096010" y="501713"/>
                </a:lnTo>
                <a:lnTo>
                  <a:pt x="6112494" y="501713"/>
                </a:lnTo>
                <a:lnTo>
                  <a:pt x="6112494" y="490011"/>
                </a:lnTo>
                <a:close/>
                <a:moveTo>
                  <a:pt x="6124463" y="490011"/>
                </a:moveTo>
                <a:lnTo>
                  <a:pt x="6124463" y="552065"/>
                </a:lnTo>
                <a:lnTo>
                  <a:pt x="6136509" y="552065"/>
                </a:lnTo>
                <a:lnTo>
                  <a:pt x="6136509" y="490011"/>
                </a:lnTo>
                <a:close/>
                <a:moveTo>
                  <a:pt x="6227397" y="490011"/>
                </a:moveTo>
                <a:lnTo>
                  <a:pt x="6227397" y="552065"/>
                </a:lnTo>
                <a:lnTo>
                  <a:pt x="6239443" y="552065"/>
                </a:lnTo>
                <a:lnTo>
                  <a:pt x="6239443" y="514123"/>
                </a:lnTo>
                <a:lnTo>
                  <a:pt x="6265613" y="552065"/>
                </a:lnTo>
                <a:lnTo>
                  <a:pt x="6274794" y="552065"/>
                </a:lnTo>
                <a:lnTo>
                  <a:pt x="6274794" y="490011"/>
                </a:lnTo>
                <a:lnTo>
                  <a:pt x="6262748" y="490011"/>
                </a:lnTo>
                <a:lnTo>
                  <a:pt x="6262748" y="527876"/>
                </a:lnTo>
                <a:lnTo>
                  <a:pt x="6236577" y="490011"/>
                </a:lnTo>
                <a:close/>
                <a:moveTo>
                  <a:pt x="6307330" y="490011"/>
                </a:moveTo>
                <a:lnTo>
                  <a:pt x="6285952" y="552065"/>
                </a:lnTo>
                <a:lnTo>
                  <a:pt x="6298961" y="552065"/>
                </a:lnTo>
                <a:lnTo>
                  <a:pt x="6302613" y="540895"/>
                </a:lnTo>
                <a:lnTo>
                  <a:pt x="6326958" y="540895"/>
                </a:lnTo>
                <a:lnTo>
                  <a:pt x="6330635" y="552065"/>
                </a:lnTo>
                <a:lnTo>
                  <a:pt x="6343721" y="552065"/>
                </a:lnTo>
                <a:lnTo>
                  <a:pt x="6322267" y="490011"/>
                </a:lnTo>
                <a:close/>
                <a:moveTo>
                  <a:pt x="6354878" y="490010"/>
                </a:moveTo>
                <a:lnTo>
                  <a:pt x="6354878" y="552064"/>
                </a:lnTo>
                <a:lnTo>
                  <a:pt x="6390204" y="552064"/>
                </a:lnTo>
                <a:lnTo>
                  <a:pt x="6390204" y="540362"/>
                </a:lnTo>
                <a:lnTo>
                  <a:pt x="6366924" y="540362"/>
                </a:lnTo>
                <a:lnTo>
                  <a:pt x="6366924" y="490010"/>
                </a:lnTo>
                <a:close/>
                <a:moveTo>
                  <a:pt x="6181953" y="488770"/>
                </a:moveTo>
                <a:cubicBezTo>
                  <a:pt x="6173102" y="488770"/>
                  <a:pt x="6165621" y="491885"/>
                  <a:pt x="6159484" y="498116"/>
                </a:cubicBezTo>
                <a:cubicBezTo>
                  <a:pt x="6153347" y="504347"/>
                  <a:pt x="6150279" y="511996"/>
                  <a:pt x="6150279" y="521038"/>
                </a:cubicBezTo>
                <a:cubicBezTo>
                  <a:pt x="6150279" y="530080"/>
                  <a:pt x="6153347" y="537729"/>
                  <a:pt x="6159484" y="543960"/>
                </a:cubicBezTo>
                <a:cubicBezTo>
                  <a:pt x="6165621" y="550190"/>
                  <a:pt x="6173102" y="553306"/>
                  <a:pt x="6181953" y="553306"/>
                </a:cubicBezTo>
                <a:cubicBezTo>
                  <a:pt x="6190778" y="553306"/>
                  <a:pt x="6198284" y="550190"/>
                  <a:pt x="6204472" y="543960"/>
                </a:cubicBezTo>
                <a:cubicBezTo>
                  <a:pt x="6210634" y="537729"/>
                  <a:pt x="6213728" y="530080"/>
                  <a:pt x="6213728" y="521038"/>
                </a:cubicBezTo>
                <a:cubicBezTo>
                  <a:pt x="6213728" y="511996"/>
                  <a:pt x="6210634" y="504372"/>
                  <a:pt x="6204472" y="498116"/>
                </a:cubicBezTo>
                <a:cubicBezTo>
                  <a:pt x="6198284" y="491885"/>
                  <a:pt x="6190778" y="488770"/>
                  <a:pt x="6181953" y="488770"/>
                </a:cubicBezTo>
                <a:close/>
                <a:moveTo>
                  <a:pt x="6552428" y="390622"/>
                </a:moveTo>
                <a:lnTo>
                  <a:pt x="6552428" y="413696"/>
                </a:lnTo>
                <a:lnTo>
                  <a:pt x="6556993" y="413696"/>
                </a:lnTo>
                <a:lnTo>
                  <a:pt x="6556993" y="398752"/>
                </a:lnTo>
                <a:lnTo>
                  <a:pt x="6563485" y="409441"/>
                </a:lnTo>
                <a:lnTo>
                  <a:pt x="6564017" y="409441"/>
                </a:lnTo>
                <a:lnTo>
                  <a:pt x="6570534" y="398727"/>
                </a:lnTo>
                <a:lnTo>
                  <a:pt x="6570534" y="413696"/>
                </a:lnTo>
                <a:lnTo>
                  <a:pt x="6575049" y="413696"/>
                </a:lnTo>
                <a:lnTo>
                  <a:pt x="6575049" y="390622"/>
                </a:lnTo>
                <a:lnTo>
                  <a:pt x="6570357" y="390622"/>
                </a:lnTo>
                <a:lnTo>
                  <a:pt x="6563764" y="401538"/>
                </a:lnTo>
                <a:lnTo>
                  <a:pt x="6557119" y="390622"/>
                </a:lnTo>
                <a:close/>
                <a:moveTo>
                  <a:pt x="6540027" y="389685"/>
                </a:moveTo>
                <a:cubicBezTo>
                  <a:pt x="6536071" y="389685"/>
                  <a:pt x="6532445" y="392192"/>
                  <a:pt x="6532445" y="396549"/>
                </a:cubicBezTo>
                <a:cubicBezTo>
                  <a:pt x="6532445" y="400931"/>
                  <a:pt x="6535868" y="402425"/>
                  <a:pt x="6539418" y="403438"/>
                </a:cubicBezTo>
                <a:cubicBezTo>
                  <a:pt x="6542842" y="404426"/>
                  <a:pt x="6544414" y="405084"/>
                  <a:pt x="6544414" y="406807"/>
                </a:cubicBezTo>
                <a:cubicBezTo>
                  <a:pt x="6544414" y="408098"/>
                  <a:pt x="6543451" y="409238"/>
                  <a:pt x="6540712" y="409238"/>
                </a:cubicBezTo>
                <a:cubicBezTo>
                  <a:pt x="6537846" y="409238"/>
                  <a:pt x="6536223" y="407845"/>
                  <a:pt x="6535386" y="405718"/>
                </a:cubicBezTo>
                <a:lnTo>
                  <a:pt x="6531481" y="407997"/>
                </a:lnTo>
                <a:cubicBezTo>
                  <a:pt x="6532724" y="411442"/>
                  <a:pt x="6535843" y="413696"/>
                  <a:pt x="6540560" y="413696"/>
                </a:cubicBezTo>
                <a:cubicBezTo>
                  <a:pt x="6545479" y="413696"/>
                  <a:pt x="6548954" y="411062"/>
                  <a:pt x="6548954" y="406731"/>
                </a:cubicBezTo>
                <a:cubicBezTo>
                  <a:pt x="6548954" y="402020"/>
                  <a:pt x="6545074" y="400804"/>
                  <a:pt x="6541397" y="399664"/>
                </a:cubicBezTo>
                <a:cubicBezTo>
                  <a:pt x="6537897" y="398600"/>
                  <a:pt x="6537009" y="397841"/>
                  <a:pt x="6537009" y="396422"/>
                </a:cubicBezTo>
                <a:cubicBezTo>
                  <a:pt x="6537009" y="395105"/>
                  <a:pt x="6538125" y="394117"/>
                  <a:pt x="6540052" y="394117"/>
                </a:cubicBezTo>
                <a:cubicBezTo>
                  <a:pt x="6542386" y="394117"/>
                  <a:pt x="6543654" y="395333"/>
                  <a:pt x="6544465" y="397081"/>
                </a:cubicBezTo>
                <a:lnTo>
                  <a:pt x="6548294" y="394877"/>
                </a:lnTo>
                <a:cubicBezTo>
                  <a:pt x="6546747" y="391635"/>
                  <a:pt x="6543831" y="389685"/>
                  <a:pt x="6540027" y="389685"/>
                </a:cubicBezTo>
                <a:close/>
                <a:moveTo>
                  <a:pt x="5893389" y="351213"/>
                </a:moveTo>
                <a:lnTo>
                  <a:pt x="5893407" y="351239"/>
                </a:lnTo>
                <a:lnTo>
                  <a:pt x="5893389" y="351239"/>
                </a:lnTo>
                <a:close/>
                <a:moveTo>
                  <a:pt x="6370500" y="289665"/>
                </a:moveTo>
                <a:cubicBezTo>
                  <a:pt x="6383205" y="289665"/>
                  <a:pt x="6393729" y="293845"/>
                  <a:pt x="6402098" y="302203"/>
                </a:cubicBezTo>
                <a:cubicBezTo>
                  <a:pt x="6410466" y="310561"/>
                  <a:pt x="6414651" y="321275"/>
                  <a:pt x="6414651" y="334395"/>
                </a:cubicBezTo>
                <a:cubicBezTo>
                  <a:pt x="6414651" y="347489"/>
                  <a:pt x="6410466" y="358228"/>
                  <a:pt x="6402098" y="366587"/>
                </a:cubicBezTo>
                <a:cubicBezTo>
                  <a:pt x="6393729" y="374945"/>
                  <a:pt x="6383205" y="379124"/>
                  <a:pt x="6370500" y="379124"/>
                </a:cubicBezTo>
                <a:cubicBezTo>
                  <a:pt x="6357795" y="379124"/>
                  <a:pt x="6347322" y="374945"/>
                  <a:pt x="6339055" y="366587"/>
                </a:cubicBezTo>
                <a:cubicBezTo>
                  <a:pt x="6330813" y="358228"/>
                  <a:pt x="6326679" y="347515"/>
                  <a:pt x="6326654" y="334395"/>
                </a:cubicBezTo>
                <a:cubicBezTo>
                  <a:pt x="6326654" y="321300"/>
                  <a:pt x="6330787" y="310561"/>
                  <a:pt x="6339055" y="302203"/>
                </a:cubicBezTo>
                <a:cubicBezTo>
                  <a:pt x="6347322" y="293845"/>
                  <a:pt x="6357795" y="289665"/>
                  <a:pt x="6370500" y="289665"/>
                </a:cubicBezTo>
                <a:close/>
                <a:moveTo>
                  <a:pt x="5934370" y="287437"/>
                </a:moveTo>
                <a:cubicBezTo>
                  <a:pt x="5943677" y="287437"/>
                  <a:pt x="5951995" y="290071"/>
                  <a:pt x="5959298" y="295365"/>
                </a:cubicBezTo>
                <a:cubicBezTo>
                  <a:pt x="5966601" y="300659"/>
                  <a:pt x="5971420" y="308687"/>
                  <a:pt x="5973753" y="319477"/>
                </a:cubicBezTo>
                <a:lnTo>
                  <a:pt x="5892755" y="319477"/>
                </a:lnTo>
                <a:cubicBezTo>
                  <a:pt x="5895088" y="309321"/>
                  <a:pt x="5899856" y="301444"/>
                  <a:pt x="5907058" y="295846"/>
                </a:cubicBezTo>
                <a:cubicBezTo>
                  <a:pt x="5914260" y="290249"/>
                  <a:pt x="5923364" y="287437"/>
                  <a:pt x="5934370" y="287437"/>
                </a:cubicBezTo>
                <a:close/>
                <a:moveTo>
                  <a:pt x="6071615" y="282315"/>
                </a:moveTo>
                <a:lnTo>
                  <a:pt x="6071615" y="282346"/>
                </a:lnTo>
                <a:lnTo>
                  <a:pt x="6071589" y="282346"/>
                </a:lnTo>
                <a:close/>
                <a:moveTo>
                  <a:pt x="5509042" y="255472"/>
                </a:moveTo>
                <a:lnTo>
                  <a:pt x="5509042" y="268922"/>
                </a:lnTo>
                <a:lnTo>
                  <a:pt x="5509042" y="413443"/>
                </a:lnTo>
                <a:lnTo>
                  <a:pt x="5509042" y="413722"/>
                </a:lnTo>
                <a:lnTo>
                  <a:pt x="5552888" y="413722"/>
                </a:lnTo>
                <a:lnTo>
                  <a:pt x="5552888" y="413443"/>
                </a:lnTo>
                <a:lnTo>
                  <a:pt x="5552888" y="268922"/>
                </a:lnTo>
                <a:lnTo>
                  <a:pt x="5552888" y="255472"/>
                </a:lnTo>
                <a:close/>
                <a:moveTo>
                  <a:pt x="6125909" y="255068"/>
                </a:moveTo>
                <a:lnTo>
                  <a:pt x="6186264" y="413697"/>
                </a:lnTo>
                <a:lnTo>
                  <a:pt x="6232976" y="413697"/>
                </a:lnTo>
                <a:lnTo>
                  <a:pt x="6293332" y="255068"/>
                </a:lnTo>
                <a:lnTo>
                  <a:pt x="6248217" y="255068"/>
                </a:lnTo>
                <a:lnTo>
                  <a:pt x="6209468" y="366106"/>
                </a:lnTo>
                <a:lnTo>
                  <a:pt x="6171023" y="255068"/>
                </a:lnTo>
                <a:close/>
                <a:moveTo>
                  <a:pt x="6119874" y="255042"/>
                </a:moveTo>
                <a:cubicBezTo>
                  <a:pt x="6109071" y="255042"/>
                  <a:pt x="6099282" y="254409"/>
                  <a:pt x="6090482" y="259500"/>
                </a:cubicBezTo>
                <a:lnTo>
                  <a:pt x="6071615" y="282315"/>
                </a:lnTo>
                <a:lnTo>
                  <a:pt x="6071615" y="255067"/>
                </a:lnTo>
                <a:lnTo>
                  <a:pt x="6030634" y="255067"/>
                </a:lnTo>
                <a:lnTo>
                  <a:pt x="6030634" y="413697"/>
                </a:lnTo>
                <a:lnTo>
                  <a:pt x="6071615" y="413697"/>
                </a:lnTo>
                <a:lnTo>
                  <a:pt x="6071615" y="337865"/>
                </a:lnTo>
                <a:cubicBezTo>
                  <a:pt x="6071615" y="322643"/>
                  <a:pt x="6076534" y="311752"/>
                  <a:pt x="6086374" y="305192"/>
                </a:cubicBezTo>
                <a:cubicBezTo>
                  <a:pt x="6096213" y="298632"/>
                  <a:pt x="6107371" y="296099"/>
                  <a:pt x="6119874" y="297568"/>
                </a:cubicBezTo>
                <a:close/>
                <a:moveTo>
                  <a:pt x="5934344" y="250661"/>
                </a:moveTo>
                <a:cubicBezTo>
                  <a:pt x="5909771" y="250661"/>
                  <a:pt x="5889661" y="258665"/>
                  <a:pt x="5873989" y="274621"/>
                </a:cubicBezTo>
                <a:cubicBezTo>
                  <a:pt x="5858317" y="290578"/>
                  <a:pt x="5850481" y="310511"/>
                  <a:pt x="5850481" y="334421"/>
                </a:cubicBezTo>
                <a:cubicBezTo>
                  <a:pt x="5850481" y="358533"/>
                  <a:pt x="5858444" y="378517"/>
                  <a:pt x="5874319" y="394372"/>
                </a:cubicBezTo>
                <a:cubicBezTo>
                  <a:pt x="5890219" y="410228"/>
                  <a:pt x="5911267" y="418155"/>
                  <a:pt x="5937540" y="418155"/>
                </a:cubicBezTo>
                <a:cubicBezTo>
                  <a:pt x="5968047" y="418155"/>
                  <a:pt x="5991124" y="406859"/>
                  <a:pt x="6006796" y="384216"/>
                </a:cubicBezTo>
                <a:lnTo>
                  <a:pt x="5973753" y="365169"/>
                </a:lnTo>
                <a:cubicBezTo>
                  <a:pt x="5965714" y="375731"/>
                  <a:pt x="5953846" y="381024"/>
                  <a:pt x="5938174" y="381024"/>
                </a:cubicBezTo>
                <a:cubicBezTo>
                  <a:pt x="5926002" y="381024"/>
                  <a:pt x="5916181" y="378542"/>
                  <a:pt x="5908716" y="373575"/>
                </a:cubicBezTo>
                <a:lnTo>
                  <a:pt x="5893407" y="351239"/>
                </a:lnTo>
                <a:lnTo>
                  <a:pt x="6013136" y="351239"/>
                </a:lnTo>
                <a:cubicBezTo>
                  <a:pt x="6014201" y="345312"/>
                  <a:pt x="6014734" y="339714"/>
                  <a:pt x="6014734" y="334421"/>
                </a:cubicBezTo>
                <a:cubicBezTo>
                  <a:pt x="6014734" y="310739"/>
                  <a:pt x="6007151" y="290857"/>
                  <a:pt x="5992012" y="274773"/>
                </a:cubicBezTo>
                <a:cubicBezTo>
                  <a:pt x="5976847" y="258690"/>
                  <a:pt x="5957624" y="250661"/>
                  <a:pt x="5934344" y="250661"/>
                </a:cubicBezTo>
                <a:close/>
                <a:moveTo>
                  <a:pt x="5667868" y="250635"/>
                </a:moveTo>
                <a:cubicBezTo>
                  <a:pt x="5646261" y="250635"/>
                  <a:pt x="5630488" y="258031"/>
                  <a:pt x="5620522" y="272822"/>
                </a:cubicBezTo>
                <a:lnTo>
                  <a:pt x="5620522" y="255067"/>
                </a:lnTo>
                <a:lnTo>
                  <a:pt x="5579541" y="255067"/>
                </a:lnTo>
                <a:lnTo>
                  <a:pt x="5579541" y="413722"/>
                </a:lnTo>
                <a:lnTo>
                  <a:pt x="5620522" y="413722"/>
                </a:lnTo>
                <a:lnTo>
                  <a:pt x="5620522" y="328063"/>
                </a:lnTo>
                <a:cubicBezTo>
                  <a:pt x="5620522" y="314943"/>
                  <a:pt x="5623692" y="305116"/>
                  <a:pt x="5630057" y="298556"/>
                </a:cubicBezTo>
                <a:cubicBezTo>
                  <a:pt x="5636397" y="292021"/>
                  <a:pt x="5644867" y="288728"/>
                  <a:pt x="5655467" y="288728"/>
                </a:cubicBezTo>
                <a:cubicBezTo>
                  <a:pt x="5665002" y="288728"/>
                  <a:pt x="5672610" y="291540"/>
                  <a:pt x="5678341" y="297137"/>
                </a:cubicBezTo>
                <a:cubicBezTo>
                  <a:pt x="5684047" y="302735"/>
                  <a:pt x="5686913" y="310840"/>
                  <a:pt x="5686913" y="321401"/>
                </a:cubicBezTo>
                <a:lnTo>
                  <a:pt x="5686913" y="413722"/>
                </a:lnTo>
                <a:lnTo>
                  <a:pt x="5727893" y="413722"/>
                </a:lnTo>
                <a:lnTo>
                  <a:pt x="5727893" y="316311"/>
                </a:lnTo>
                <a:cubicBezTo>
                  <a:pt x="5727893" y="295795"/>
                  <a:pt x="5722213" y="279712"/>
                  <a:pt x="5710903" y="268086"/>
                </a:cubicBezTo>
                <a:cubicBezTo>
                  <a:pt x="5699567" y="256460"/>
                  <a:pt x="5685239" y="250635"/>
                  <a:pt x="5667868" y="250635"/>
                </a:cubicBezTo>
                <a:close/>
                <a:moveTo>
                  <a:pt x="6362867" y="250635"/>
                </a:moveTo>
                <a:cubicBezTo>
                  <a:pt x="6341692" y="250635"/>
                  <a:pt x="6323535" y="258715"/>
                  <a:pt x="6308395" y="274899"/>
                </a:cubicBezTo>
                <a:cubicBezTo>
                  <a:pt x="6293230" y="291059"/>
                  <a:pt x="6285673" y="310890"/>
                  <a:pt x="6285673" y="334369"/>
                </a:cubicBezTo>
                <a:cubicBezTo>
                  <a:pt x="6285673" y="357848"/>
                  <a:pt x="6293256" y="377680"/>
                  <a:pt x="6308395" y="393865"/>
                </a:cubicBezTo>
                <a:cubicBezTo>
                  <a:pt x="6323535" y="410050"/>
                  <a:pt x="6341692" y="418129"/>
                  <a:pt x="6362867" y="418129"/>
                </a:cubicBezTo>
                <a:cubicBezTo>
                  <a:pt x="6385107" y="418129"/>
                  <a:pt x="6402377" y="410429"/>
                  <a:pt x="6414651" y="394979"/>
                </a:cubicBezTo>
                <a:lnTo>
                  <a:pt x="6414651" y="413697"/>
                </a:lnTo>
                <a:lnTo>
                  <a:pt x="6455631" y="413697"/>
                </a:lnTo>
                <a:lnTo>
                  <a:pt x="6455631" y="255067"/>
                </a:lnTo>
                <a:lnTo>
                  <a:pt x="6414651" y="255067"/>
                </a:lnTo>
                <a:lnTo>
                  <a:pt x="6414651" y="273810"/>
                </a:lnTo>
                <a:cubicBezTo>
                  <a:pt x="6402351" y="258360"/>
                  <a:pt x="6385107" y="250635"/>
                  <a:pt x="6362867" y="250635"/>
                </a:cubicBezTo>
                <a:close/>
                <a:moveTo>
                  <a:pt x="6480103" y="211301"/>
                </a:moveTo>
                <a:lnTo>
                  <a:pt x="6480103" y="413723"/>
                </a:lnTo>
                <a:lnTo>
                  <a:pt x="6521084" y="413723"/>
                </a:lnTo>
                <a:lnTo>
                  <a:pt x="6521084" y="211301"/>
                </a:lnTo>
                <a:close/>
                <a:moveTo>
                  <a:pt x="5509042" y="211301"/>
                </a:moveTo>
                <a:lnTo>
                  <a:pt x="5509200" y="211680"/>
                </a:lnTo>
                <a:lnTo>
                  <a:pt x="5509042" y="211680"/>
                </a:lnTo>
                <a:cubicBezTo>
                  <a:pt x="5509042" y="235868"/>
                  <a:pt x="5528670" y="255472"/>
                  <a:pt x="5552888" y="255472"/>
                </a:cubicBezTo>
                <a:lnTo>
                  <a:pt x="5552888" y="255093"/>
                </a:lnTo>
                <a:lnTo>
                  <a:pt x="5552888" y="211680"/>
                </a:lnTo>
                <a:lnTo>
                  <a:pt x="5552888" y="211301"/>
                </a:lnTo>
                <a:close/>
                <a:moveTo>
                  <a:pt x="5761267" y="211301"/>
                </a:moveTo>
                <a:cubicBezTo>
                  <a:pt x="5761267" y="223382"/>
                  <a:pt x="5766168" y="234324"/>
                  <a:pt x="5774099" y="242248"/>
                </a:cubicBezTo>
                <a:lnTo>
                  <a:pt x="5805055" y="255068"/>
                </a:lnTo>
                <a:lnTo>
                  <a:pt x="5764107" y="255068"/>
                </a:lnTo>
                <a:lnTo>
                  <a:pt x="5736465" y="255068"/>
                </a:lnTo>
                <a:lnTo>
                  <a:pt x="5736465" y="294428"/>
                </a:lnTo>
                <a:lnTo>
                  <a:pt x="5764107" y="294428"/>
                </a:lnTo>
                <a:lnTo>
                  <a:pt x="5764107" y="360407"/>
                </a:lnTo>
                <a:cubicBezTo>
                  <a:pt x="5764107" y="382189"/>
                  <a:pt x="5769889" y="397310"/>
                  <a:pt x="5781427" y="405770"/>
                </a:cubicBezTo>
                <a:cubicBezTo>
                  <a:pt x="5792966" y="414229"/>
                  <a:pt x="5812822" y="416863"/>
                  <a:pt x="5840996" y="413697"/>
                </a:cubicBezTo>
                <a:lnTo>
                  <a:pt x="5840996" y="376567"/>
                </a:lnTo>
                <a:cubicBezTo>
                  <a:pt x="5833160" y="376997"/>
                  <a:pt x="5826592" y="377022"/>
                  <a:pt x="5821292" y="376718"/>
                </a:cubicBezTo>
                <a:cubicBezTo>
                  <a:pt x="5815992" y="376415"/>
                  <a:pt x="5811960" y="374971"/>
                  <a:pt x="5809221" y="372438"/>
                </a:cubicBezTo>
                <a:cubicBezTo>
                  <a:pt x="5806457" y="369905"/>
                  <a:pt x="5805087" y="365878"/>
                  <a:pt x="5805087" y="360382"/>
                </a:cubicBezTo>
                <a:lnTo>
                  <a:pt x="5805087" y="294402"/>
                </a:lnTo>
                <a:lnTo>
                  <a:pt x="5840996" y="294402"/>
                </a:lnTo>
                <a:lnTo>
                  <a:pt x="5840996" y="255068"/>
                </a:lnTo>
                <a:lnTo>
                  <a:pt x="5805113" y="255068"/>
                </a:lnTo>
                <a:lnTo>
                  <a:pt x="5805113" y="211301"/>
                </a:lnTo>
                <a:close/>
                <a:moveTo>
                  <a:pt x="0" y="0"/>
                </a:moveTo>
                <a:lnTo>
                  <a:pt x="6846047" y="0"/>
                </a:lnTo>
                <a:lnTo>
                  <a:pt x="6846047" y="6856313"/>
                </a:lnTo>
                <a:lnTo>
                  <a:pt x="6846045" y="6856313"/>
                </a:lnTo>
                <a:lnTo>
                  <a:pt x="6846045" y="6700738"/>
                </a:lnTo>
                <a:lnTo>
                  <a:pt x="6846045" y="6512322"/>
                </a:lnTo>
                <a:lnTo>
                  <a:pt x="6846045" y="6507093"/>
                </a:lnTo>
                <a:lnTo>
                  <a:pt x="6846045" y="6498173"/>
                </a:lnTo>
                <a:lnTo>
                  <a:pt x="6846045" y="6492502"/>
                </a:lnTo>
                <a:lnTo>
                  <a:pt x="6605592" y="6475924"/>
                </a:lnTo>
                <a:cubicBezTo>
                  <a:pt x="3244476" y="6166523"/>
                  <a:pt x="540587" y="3588130"/>
                  <a:pt x="36364" y="286328"/>
                </a:cubicBezTo>
                <a:close/>
              </a:path>
            </a:pathLst>
          </a:custGeom>
          <a:solidFill>
            <a:schemeClr val="bg2">
              <a:lumMod val="95000"/>
            </a:schemeClr>
          </a:solidFill>
        </p:spPr>
        <p:txBody>
          <a:bodyPr wrap="square" anchor="ctr">
            <a:noAutofit/>
          </a:bodyPr>
          <a:lstStyle>
            <a:lvl1pPr marL="0" indent="0" algn="ctr">
              <a:buNone/>
              <a:defRPr sz="1400">
                <a:solidFill>
                  <a:schemeClr val="bg2">
                    <a:lumMod val="75000"/>
                  </a:schemeClr>
                </a:solidFill>
              </a:defRPr>
            </a:lvl1pPr>
          </a:lstStyle>
          <a:p>
            <a:r>
              <a:rPr lang="en-US"/>
              <a:t>Click to add image</a:t>
            </a:r>
          </a:p>
        </p:txBody>
      </p:sp>
      <p:sp>
        <p:nvSpPr>
          <p:cNvPr id="12" name="Slide Number Placeholder 5">
            <a:extLst>
              <a:ext uri="{FF2B5EF4-FFF2-40B4-BE49-F238E27FC236}">
                <a16:creationId xmlns:a16="http://schemas.microsoft.com/office/drawing/2014/main" id="{E399722A-98DF-32E8-5755-E851D0C5DF4D}"/>
              </a:ext>
            </a:extLst>
          </p:cNvPr>
          <p:cNvSpPr>
            <a:spLocks noGrp="1"/>
          </p:cNvSpPr>
          <p:nvPr>
            <p:ph type="sldNum" sz="quarter" idx="4"/>
          </p:nvPr>
        </p:nvSpPr>
        <p:spPr>
          <a:xfrm>
            <a:off x="11087100" y="6564440"/>
            <a:ext cx="554038" cy="138499"/>
          </a:xfrm>
          <a:prstGeom prst="rect">
            <a:avLst/>
          </a:prstGeom>
        </p:spPr>
        <p:txBody>
          <a:bodyPr wrap="square" lIns="0" tIns="0" rIns="0" bIns="0" anchor="ctr">
            <a:normAutofit/>
          </a:bodyPr>
          <a:lstStyle>
            <a:lvl1pPr algn="r">
              <a:defRPr sz="900">
                <a:solidFill>
                  <a:schemeClr val="tx1"/>
                </a:solidFill>
              </a:defRPr>
            </a:lvl1pPr>
          </a:lstStyle>
          <a:p>
            <a:fld id="{0E88EC54-15BE-9740-A323-DA3E96F2F863}" type="slidenum">
              <a:rPr lang="en-US" smtClean="0"/>
              <a:pPr/>
              <a:t>‹#›</a:t>
            </a:fld>
            <a:endParaRPr lang="en-US"/>
          </a:p>
        </p:txBody>
      </p:sp>
      <p:sp>
        <p:nvSpPr>
          <p:cNvPr id="32" name="TextBox 31">
            <a:extLst>
              <a:ext uri="{FF2B5EF4-FFF2-40B4-BE49-F238E27FC236}">
                <a16:creationId xmlns:a16="http://schemas.microsoft.com/office/drawing/2014/main" id="{1ED28BCC-68ED-0A3E-737E-C611A4963191}"/>
              </a:ext>
            </a:extLst>
          </p:cNvPr>
          <p:cNvSpPr txBox="1"/>
          <p:nvPr userDrawn="1"/>
        </p:nvSpPr>
        <p:spPr>
          <a:xfrm>
            <a:off x="550863" y="6564440"/>
            <a:ext cx="6429645" cy="138499"/>
          </a:xfrm>
          <a:prstGeom prst="rect">
            <a:avLst/>
          </a:prstGeom>
          <a:noFill/>
        </p:spPr>
        <p:txBody>
          <a:bodyPr wrap="none" lIns="0" tIns="0" rIns="0" bIns="0" rtlCol="0" anchor="ctr">
            <a:spAutoFit/>
          </a:bodyPr>
          <a:lstStyle/>
          <a:p>
            <a:r>
              <a:rPr lang="en-US" sz="900" b="0" i="0" u="none" strike="noStrike" baseline="0">
                <a:solidFill>
                  <a:schemeClr val="tx1"/>
                </a:solidFill>
                <a:effectLst/>
                <a:latin typeface="+mn-lt"/>
                <a:ea typeface="Urbanist Medium" panose="020B0A04040200000203" pitchFamily="34" charset="77"/>
                <a:cs typeface="Urbanist Medium" panose="020B0A04040200000203" pitchFamily="34" charset="77"/>
              </a:rPr>
              <a:t>© 2024 Interval International – Confidential and Proprietary.  Unauthorized copying, distribution, disclosure or use is prohibited.  </a:t>
            </a:r>
          </a:p>
        </p:txBody>
      </p:sp>
      <p:sp>
        <p:nvSpPr>
          <p:cNvPr id="7" name="Text Placeholder 2">
            <a:extLst>
              <a:ext uri="{FF2B5EF4-FFF2-40B4-BE49-F238E27FC236}">
                <a16:creationId xmlns:a16="http://schemas.microsoft.com/office/drawing/2014/main" id="{93407B19-2470-8225-721D-9D48852D2291}"/>
              </a:ext>
            </a:extLst>
          </p:cNvPr>
          <p:cNvSpPr>
            <a:spLocks noGrp="1"/>
          </p:cNvSpPr>
          <p:nvPr>
            <p:ph type="body" sz="quarter" idx="10" hasCustomPrompt="1"/>
          </p:nvPr>
        </p:nvSpPr>
        <p:spPr>
          <a:xfrm>
            <a:off x="550862" y="613507"/>
            <a:ext cx="11090275" cy="369332"/>
          </a:xfrm>
        </p:spPr>
        <p:txBody>
          <a:bodyPr lIns="0" tIns="0" rIns="0" bIns="0" anchor="b">
            <a:noAutofit/>
          </a:bodyPr>
          <a:lstStyle>
            <a:lvl1pPr marL="0" indent="0">
              <a:lnSpc>
                <a:spcPct val="100000"/>
              </a:lnSpc>
              <a:spcBef>
                <a:spcPts val="0"/>
              </a:spcBef>
              <a:buNone/>
              <a:defRPr sz="2800" b="1">
                <a:solidFill>
                  <a:schemeClr val="tx2"/>
                </a:solidFill>
                <a:latin typeface="+mj-lt"/>
              </a:defRPr>
            </a:lvl1pPr>
          </a:lstStyle>
          <a:p>
            <a:pPr lvl="0"/>
            <a:r>
              <a:rPr lang="en-US"/>
              <a:t>Single content and image </a:t>
            </a:r>
          </a:p>
        </p:txBody>
      </p:sp>
      <p:sp>
        <p:nvSpPr>
          <p:cNvPr id="8" name="Text Placeholder 2">
            <a:extLst>
              <a:ext uri="{FF2B5EF4-FFF2-40B4-BE49-F238E27FC236}">
                <a16:creationId xmlns:a16="http://schemas.microsoft.com/office/drawing/2014/main" id="{4F1B296A-A77C-AC48-4D47-128AA9FC6AF6}"/>
              </a:ext>
            </a:extLst>
          </p:cNvPr>
          <p:cNvSpPr>
            <a:spLocks noGrp="1"/>
          </p:cNvSpPr>
          <p:nvPr>
            <p:ph type="body" sz="quarter" idx="11" hasCustomPrompt="1"/>
          </p:nvPr>
        </p:nvSpPr>
        <p:spPr>
          <a:xfrm>
            <a:off x="550862" y="1116917"/>
            <a:ext cx="11090275" cy="246221"/>
          </a:xfrm>
        </p:spPr>
        <p:txBody>
          <a:bodyPr lIns="0" tIns="0" rIns="0" bIns="0" anchor="t">
            <a:noAutofit/>
          </a:bodyPr>
          <a:lstStyle>
            <a:lvl1pPr marL="0" indent="0">
              <a:lnSpc>
                <a:spcPct val="100000"/>
              </a:lnSpc>
              <a:spcBef>
                <a:spcPts val="0"/>
              </a:spcBef>
              <a:buNone/>
              <a:defRPr sz="1800" b="0">
                <a:solidFill>
                  <a:schemeClr val="tx2"/>
                </a:solidFill>
              </a:defRPr>
            </a:lvl1pPr>
          </a:lstStyle>
          <a:p>
            <a:pPr lvl="0"/>
            <a:r>
              <a:rPr lang="en-US"/>
              <a:t>Subtitle</a:t>
            </a:r>
          </a:p>
        </p:txBody>
      </p:sp>
      <p:sp>
        <p:nvSpPr>
          <p:cNvPr id="9" name="Text Placeholder 68">
            <a:extLst>
              <a:ext uri="{FF2B5EF4-FFF2-40B4-BE49-F238E27FC236}">
                <a16:creationId xmlns:a16="http://schemas.microsoft.com/office/drawing/2014/main" id="{7919FC95-5E6C-9825-8539-76D0DA706FC7}"/>
              </a:ext>
            </a:extLst>
          </p:cNvPr>
          <p:cNvSpPr>
            <a:spLocks noGrp="1"/>
          </p:cNvSpPr>
          <p:nvPr>
            <p:ph type="body" sz="quarter" idx="13" hasCustomPrompt="1"/>
          </p:nvPr>
        </p:nvSpPr>
        <p:spPr>
          <a:xfrm>
            <a:off x="550862" y="1967935"/>
            <a:ext cx="4681537" cy="1354217"/>
          </a:xfrm>
        </p:spPr>
        <p:txBody>
          <a:bodyPr wrap="square" lIns="0" tIns="0" rIns="0" bIns="0" anchor="t">
            <a:normAutofit/>
          </a:bodyPr>
          <a:lstStyle>
            <a:lvl1pPr marL="0" indent="0">
              <a:lnSpc>
                <a:spcPct val="100000"/>
              </a:lnSpc>
              <a:spcBef>
                <a:spcPts val="0"/>
              </a:spcBef>
              <a:buNone/>
              <a:defRPr sz="1400" b="0">
                <a:solidFill>
                  <a:schemeClr val="tx1"/>
                </a:solidFill>
                <a:latin typeface="+mn-lt"/>
              </a:defRPr>
            </a:lvl1pPr>
          </a:lstStyle>
          <a:p>
            <a:pPr lvl="0"/>
            <a:r>
              <a:rPr lang="en-US"/>
              <a:t>Click to add text</a:t>
            </a:r>
          </a:p>
        </p:txBody>
      </p:sp>
      <p:pic>
        <p:nvPicPr>
          <p:cNvPr id="47" name="Graphic 46">
            <a:extLst>
              <a:ext uri="{FF2B5EF4-FFF2-40B4-BE49-F238E27FC236}">
                <a16:creationId xmlns:a16="http://schemas.microsoft.com/office/drawing/2014/main" id="{8FCC587E-0286-2C25-A208-EEA3DDB9986D}"/>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595317" y="-62632"/>
            <a:ext cx="1584960" cy="894079"/>
          </a:xfrm>
          <a:prstGeom prst="rect">
            <a:avLst/>
          </a:prstGeom>
        </p:spPr>
      </p:pic>
    </p:spTree>
    <p:extLst>
      <p:ext uri="{BB962C8B-B14F-4D97-AF65-F5344CB8AC3E}">
        <p14:creationId xmlns:p14="http://schemas.microsoft.com/office/powerpoint/2010/main" val="32636014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 with Flag">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A34E0D86-566F-4159-C8A2-60D269AB456F}"/>
              </a:ext>
            </a:extLst>
          </p:cNvPr>
          <p:cNvSpPr txBox="1">
            <a:spLocks/>
          </p:cNvSpPr>
          <p:nvPr userDrawn="1"/>
        </p:nvSpPr>
        <p:spPr>
          <a:xfrm flipH="1">
            <a:off x="0" y="0"/>
            <a:ext cx="12192001" cy="6858000"/>
          </a:xfrm>
          <a:custGeom>
            <a:avLst/>
            <a:gdLst>
              <a:gd name="connsiteX0" fmla="*/ 0 w 12192001"/>
              <a:gd name="connsiteY0" fmla="*/ 0 h 6858000"/>
              <a:gd name="connsiteX1" fmla="*/ 7010160 w 12192001"/>
              <a:gd name="connsiteY1" fmla="*/ 0 h 6858000"/>
              <a:gd name="connsiteX2" fmla="*/ 11925311 w 12192001"/>
              <a:gd name="connsiteY2" fmla="*/ 5177829 h 6858000"/>
              <a:gd name="connsiteX3" fmla="*/ 12192001 w 12192001"/>
              <a:gd name="connsiteY3" fmla="*/ 5184577 h 6858000"/>
              <a:gd name="connsiteX4" fmla="*/ 12192001 w 12192001"/>
              <a:gd name="connsiteY4" fmla="*/ 5184577 h 6858000"/>
              <a:gd name="connsiteX5" fmla="*/ 7010160 w 12192001"/>
              <a:gd name="connsiteY5" fmla="*/ 5184577 h 6858000"/>
              <a:gd name="connsiteX6" fmla="*/ 7010160 w 12192001"/>
              <a:gd name="connsiteY6" fmla="*/ 6858000 h 6858000"/>
              <a:gd name="connsiteX7" fmla="*/ 0 w 12192001"/>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1" h="6858000">
                <a:moveTo>
                  <a:pt x="0" y="0"/>
                </a:moveTo>
                <a:lnTo>
                  <a:pt x="7010160" y="0"/>
                </a:lnTo>
                <a:cubicBezTo>
                  <a:pt x="7010160" y="2773394"/>
                  <a:pt x="9187051" y="5038941"/>
                  <a:pt x="11925311" y="5177829"/>
                </a:cubicBezTo>
                <a:lnTo>
                  <a:pt x="12192001" y="5184577"/>
                </a:lnTo>
                <a:lnTo>
                  <a:pt x="12192001" y="5184577"/>
                </a:lnTo>
                <a:lnTo>
                  <a:pt x="7010160" y="5184577"/>
                </a:lnTo>
                <a:lnTo>
                  <a:pt x="7010160" y="6858000"/>
                </a:lnTo>
                <a:lnTo>
                  <a:pt x="0" y="6858000"/>
                </a:lnTo>
                <a:close/>
              </a:path>
            </a:pathLst>
          </a:custGeom>
          <a:solidFill>
            <a:schemeClr val="bg2"/>
          </a:solidFill>
        </p:spPr>
        <p:txBody>
          <a:bodyPr vert="horz" wrap="square"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1800" kern="1200">
                <a:solidFill>
                  <a:schemeClr val="bg2">
                    <a:lumMod val="7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p:txBody>
      </p:sp>
      <p:sp>
        <p:nvSpPr>
          <p:cNvPr id="11" name="Rectangle 10">
            <a:extLst>
              <a:ext uri="{FF2B5EF4-FFF2-40B4-BE49-F238E27FC236}">
                <a16:creationId xmlns:a16="http://schemas.microsoft.com/office/drawing/2014/main" id="{B5A6E540-CBAD-033A-18D9-CB54C58CCFCD}"/>
              </a:ext>
            </a:extLst>
          </p:cNvPr>
          <p:cNvSpPr/>
          <p:nvPr userDrawn="1"/>
        </p:nvSpPr>
        <p:spPr>
          <a:xfrm>
            <a:off x="0" y="6438900"/>
            <a:ext cx="6095999" cy="4191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icture Placeholder 7">
            <a:extLst>
              <a:ext uri="{FF2B5EF4-FFF2-40B4-BE49-F238E27FC236}">
                <a16:creationId xmlns:a16="http://schemas.microsoft.com/office/drawing/2014/main" id="{451DEAD8-12CB-CA22-914B-46594AC35500}"/>
              </a:ext>
            </a:extLst>
          </p:cNvPr>
          <p:cNvSpPr>
            <a:spLocks noGrp="1"/>
          </p:cNvSpPr>
          <p:nvPr>
            <p:ph type="pic" sz="quarter" idx="11" hasCustomPrompt="1"/>
          </p:nvPr>
        </p:nvSpPr>
        <p:spPr>
          <a:xfrm flipH="1">
            <a:off x="7010158" y="0"/>
            <a:ext cx="5181842" cy="6858000"/>
          </a:xfrm>
          <a:custGeom>
            <a:avLst/>
            <a:gdLst>
              <a:gd name="connsiteX0" fmla="*/ 0 w 5181842"/>
              <a:gd name="connsiteY0" fmla="*/ 5184577 h 6858000"/>
              <a:gd name="connsiteX1" fmla="*/ 5181842 w 5181842"/>
              <a:gd name="connsiteY1" fmla="*/ 5184577 h 6858000"/>
              <a:gd name="connsiteX2" fmla="*/ 5181842 w 5181842"/>
              <a:gd name="connsiteY2" fmla="*/ 6858000 h 6858000"/>
              <a:gd name="connsiteX3" fmla="*/ 0 w 5181842"/>
              <a:gd name="connsiteY3" fmla="*/ 6858000 h 6858000"/>
              <a:gd name="connsiteX4" fmla="*/ 0 w 5181842"/>
              <a:gd name="connsiteY4" fmla="*/ 0 h 6858000"/>
              <a:gd name="connsiteX5" fmla="*/ 5181842 w 5181842"/>
              <a:gd name="connsiteY5" fmla="*/ 0 h 6858000"/>
              <a:gd name="connsiteX6" fmla="*/ 266691 w 5181842"/>
              <a:gd name="connsiteY6" fmla="*/ 5177829 h 6858000"/>
              <a:gd name="connsiteX7" fmla="*/ 0 w 5181842"/>
              <a:gd name="connsiteY7" fmla="*/ 518457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1842" h="6858000">
                <a:moveTo>
                  <a:pt x="0" y="5184577"/>
                </a:moveTo>
                <a:lnTo>
                  <a:pt x="5181842" y="5184577"/>
                </a:lnTo>
                <a:lnTo>
                  <a:pt x="5181842" y="6858000"/>
                </a:lnTo>
                <a:lnTo>
                  <a:pt x="0" y="6858000"/>
                </a:lnTo>
                <a:close/>
                <a:moveTo>
                  <a:pt x="0" y="0"/>
                </a:moveTo>
                <a:lnTo>
                  <a:pt x="5181842" y="0"/>
                </a:lnTo>
                <a:cubicBezTo>
                  <a:pt x="5181842" y="2773394"/>
                  <a:pt x="3004950" y="5038941"/>
                  <a:pt x="266691" y="5177829"/>
                </a:cubicBezTo>
                <a:lnTo>
                  <a:pt x="0" y="5184577"/>
                </a:lnTo>
                <a:close/>
              </a:path>
            </a:pathLst>
          </a:custGeom>
          <a:solidFill>
            <a:schemeClr val="bg2">
              <a:lumMod val="95000"/>
            </a:schemeClr>
          </a:solidFill>
        </p:spPr>
        <p:txBody>
          <a:bodyPr wrap="square" anchor="ctr">
            <a:noAutofit/>
          </a:bodyPr>
          <a:lstStyle>
            <a:lvl1pPr marL="0" indent="0" algn="ctr">
              <a:buNone/>
              <a:defRPr sz="1600"/>
            </a:lvl1pPr>
          </a:lstStyle>
          <a:p>
            <a:r>
              <a:rPr lang="en-US"/>
              <a:t>Click to add image</a:t>
            </a:r>
          </a:p>
        </p:txBody>
      </p:sp>
      <p:pic>
        <p:nvPicPr>
          <p:cNvPr id="44" name="Graphic 43">
            <a:extLst>
              <a:ext uri="{FF2B5EF4-FFF2-40B4-BE49-F238E27FC236}">
                <a16:creationId xmlns:a16="http://schemas.microsoft.com/office/drawing/2014/main" id="{762F7070-04C8-BD06-C611-DC05F9090EBD}"/>
              </a:ext>
            </a:extLst>
          </p:cNvPr>
          <p:cNvPicPr>
            <a:picLocks/>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48800" y="-1764"/>
            <a:ext cx="2743200" cy="1554480"/>
          </a:xfrm>
          <a:prstGeom prst="rect">
            <a:avLst/>
          </a:prstGeom>
        </p:spPr>
      </p:pic>
      <p:sp>
        <p:nvSpPr>
          <p:cNvPr id="3" name="Title 1">
            <a:extLst>
              <a:ext uri="{FF2B5EF4-FFF2-40B4-BE49-F238E27FC236}">
                <a16:creationId xmlns:a16="http://schemas.microsoft.com/office/drawing/2014/main" id="{DC91E5CE-6FB9-E207-A486-74A60D960965}"/>
              </a:ext>
            </a:extLst>
          </p:cNvPr>
          <p:cNvSpPr>
            <a:spLocks noGrp="1"/>
          </p:cNvSpPr>
          <p:nvPr>
            <p:ph type="ctrTitle" hasCustomPrompt="1"/>
          </p:nvPr>
        </p:nvSpPr>
        <p:spPr>
          <a:xfrm>
            <a:off x="550863" y="2268624"/>
            <a:ext cx="4648390" cy="1477328"/>
          </a:xfrm>
        </p:spPr>
        <p:txBody>
          <a:bodyPr vert="horz" lIns="0" tIns="0" rIns="0" bIns="0" anchor="b">
            <a:normAutofit/>
          </a:bodyPr>
          <a:lstStyle>
            <a:lvl1pPr algn="l">
              <a:lnSpc>
                <a:spcPct val="100000"/>
              </a:lnSpc>
              <a:defRPr sz="4800">
                <a:solidFill>
                  <a:schemeClr val="tx2"/>
                </a:solidFill>
              </a:defRPr>
            </a:lvl1pPr>
          </a:lstStyle>
          <a:p>
            <a:r>
              <a:rPr lang="en-GB"/>
              <a:t>Presentation Title</a:t>
            </a:r>
          </a:p>
        </p:txBody>
      </p:sp>
      <p:sp>
        <p:nvSpPr>
          <p:cNvPr id="4" name="Subtitle 2">
            <a:extLst>
              <a:ext uri="{FF2B5EF4-FFF2-40B4-BE49-F238E27FC236}">
                <a16:creationId xmlns:a16="http://schemas.microsoft.com/office/drawing/2014/main" id="{68A26F43-64E8-F42F-3524-F859E55E3CC2}"/>
              </a:ext>
            </a:extLst>
          </p:cNvPr>
          <p:cNvSpPr>
            <a:spLocks noGrp="1"/>
          </p:cNvSpPr>
          <p:nvPr>
            <p:ph type="subTitle" idx="1" hasCustomPrompt="1"/>
          </p:nvPr>
        </p:nvSpPr>
        <p:spPr>
          <a:xfrm>
            <a:off x="550863" y="4039938"/>
            <a:ext cx="4648390" cy="276999"/>
          </a:xfrm>
        </p:spPr>
        <p:txBody>
          <a:bodyPr lIns="0" tIns="0" rIns="0" bIns="0" anchor="ctr">
            <a:normAutofit/>
          </a:bodyPr>
          <a:lstStyle>
            <a:lvl1pPr marL="0" indent="0" algn="l">
              <a:lnSpc>
                <a:spcPct val="100000"/>
              </a:lnSpc>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 heading text</a:t>
            </a:r>
          </a:p>
        </p:txBody>
      </p:sp>
      <p:sp>
        <p:nvSpPr>
          <p:cNvPr id="6" name="Text Placeholder 18">
            <a:extLst>
              <a:ext uri="{FF2B5EF4-FFF2-40B4-BE49-F238E27FC236}">
                <a16:creationId xmlns:a16="http://schemas.microsoft.com/office/drawing/2014/main" id="{610D4BD4-CF9D-2CA0-7E0D-E97283473A55}"/>
              </a:ext>
            </a:extLst>
          </p:cNvPr>
          <p:cNvSpPr>
            <a:spLocks noGrp="1"/>
          </p:cNvSpPr>
          <p:nvPr>
            <p:ph type="body" sz="quarter" idx="13" hasCustomPrompt="1"/>
          </p:nvPr>
        </p:nvSpPr>
        <p:spPr>
          <a:xfrm>
            <a:off x="550863" y="6013035"/>
            <a:ext cx="4648390" cy="215444"/>
          </a:xfrm>
        </p:spPr>
        <p:txBody>
          <a:bodyPr wrap="none" lIns="0" tIns="0" rIns="0" bIns="0" anchor="ctr">
            <a:normAutofit/>
          </a:bodyPr>
          <a:lstStyle>
            <a:lvl1pPr marL="0" indent="0">
              <a:lnSpc>
                <a:spcPct val="100000"/>
              </a:lnSpc>
              <a:spcBef>
                <a:spcPts val="0"/>
              </a:spcBef>
              <a:buNone/>
              <a:defRPr sz="1400">
                <a:solidFill>
                  <a:schemeClr val="tx2"/>
                </a:solidFill>
              </a:defRPr>
            </a:lvl1pPr>
          </a:lstStyle>
          <a:p>
            <a:pPr lvl="0"/>
            <a:r>
              <a:rPr lang="en-US"/>
              <a:t>Date</a:t>
            </a:r>
          </a:p>
        </p:txBody>
      </p:sp>
    </p:spTree>
    <p:extLst>
      <p:ext uri="{BB962C8B-B14F-4D97-AF65-F5344CB8AC3E}">
        <p14:creationId xmlns:p14="http://schemas.microsoft.com/office/powerpoint/2010/main" val="5879868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Divider_3">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95FD8F1-AD97-AE8A-1BF2-6C2340807514}"/>
              </a:ext>
            </a:extLst>
          </p:cNvPr>
          <p:cNvGraphicFramePr>
            <a:graphicFrameLocks noChangeAspect="1"/>
          </p:cNvGraphicFramePr>
          <p:nvPr userDrawn="1">
            <p:custDataLst>
              <p:tags r:id="rId1"/>
            </p:custDataLst>
            <p:extLst>
              <p:ext uri="{D42A27DB-BD31-4B8C-83A1-F6EECF244321}">
                <p14:modId xmlns:p14="http://schemas.microsoft.com/office/powerpoint/2010/main" val="357451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2" name="think-cell data - do not delete" hidden="1">
                        <a:extLst>
                          <a:ext uri="{FF2B5EF4-FFF2-40B4-BE49-F238E27FC236}">
                            <a16:creationId xmlns:a16="http://schemas.microsoft.com/office/drawing/2014/main" id="{C95FD8F1-AD97-AE8A-1BF2-6C23408075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1" name="Picture Placeholder 80">
            <a:extLst>
              <a:ext uri="{FF2B5EF4-FFF2-40B4-BE49-F238E27FC236}">
                <a16:creationId xmlns:a16="http://schemas.microsoft.com/office/drawing/2014/main" id="{AE5BD7C9-307F-3058-3827-F9C8480ED1A5}"/>
              </a:ext>
            </a:extLst>
          </p:cNvPr>
          <p:cNvSpPr>
            <a:spLocks noGrp="1"/>
          </p:cNvSpPr>
          <p:nvPr>
            <p:ph type="pic" sz="quarter" idx="14" hasCustomPrompt="1"/>
          </p:nvPr>
        </p:nvSpPr>
        <p:spPr>
          <a:xfrm>
            <a:off x="0" y="0"/>
            <a:ext cx="12192001" cy="6858000"/>
          </a:xfrm>
          <a:prstGeom prst="rect">
            <a:avLst/>
          </a:prstGeom>
          <a:solidFill>
            <a:schemeClr val="bg2">
              <a:lumMod val="95000"/>
            </a:schemeClr>
          </a:solidFill>
        </p:spPr>
        <p:txBody>
          <a:bodyPr wrap="square" anchor="ctr">
            <a:noAutofit/>
          </a:bodyPr>
          <a:lstStyle>
            <a:lvl1pPr marL="0" indent="0" algn="ctr">
              <a:buNone/>
              <a:defRPr sz="1400">
                <a:solidFill>
                  <a:schemeClr val="bg2">
                    <a:lumMod val="75000"/>
                  </a:schemeClr>
                </a:solidFill>
              </a:defRPr>
            </a:lvl1pPr>
          </a:lstStyle>
          <a:p>
            <a:r>
              <a:rPr lang="en-US"/>
              <a:t>Click to add image</a:t>
            </a:r>
          </a:p>
        </p:txBody>
      </p:sp>
      <p:sp>
        <p:nvSpPr>
          <p:cNvPr id="7" name="Freeform 7">
            <a:extLst>
              <a:ext uri="{FF2B5EF4-FFF2-40B4-BE49-F238E27FC236}">
                <a16:creationId xmlns:a16="http://schemas.microsoft.com/office/drawing/2014/main" id="{BA9D19CF-DA0B-D477-0CC5-D786C8A1420B}"/>
              </a:ext>
            </a:extLst>
          </p:cNvPr>
          <p:cNvSpPr/>
          <p:nvPr userDrawn="1"/>
        </p:nvSpPr>
        <p:spPr>
          <a:xfrm>
            <a:off x="7010400" y="315"/>
            <a:ext cx="5181600" cy="6857685"/>
          </a:xfrm>
          <a:custGeom>
            <a:avLst/>
            <a:gdLst>
              <a:gd name="connsiteX0" fmla="*/ 3575797 w 3575796"/>
              <a:gd name="connsiteY0" fmla="*/ 3577686 h 4732454"/>
              <a:gd name="connsiteX1" fmla="*/ 3575797 w 3575796"/>
              <a:gd name="connsiteY1" fmla="*/ 3577686 h 4732454"/>
              <a:gd name="connsiteX2" fmla="*/ 0 w 3575796"/>
              <a:gd name="connsiteY2" fmla="*/ 0 h 4732454"/>
              <a:gd name="connsiteX3" fmla="*/ 0 w 3575796"/>
              <a:gd name="connsiteY3" fmla="*/ 0 h 4732454"/>
              <a:gd name="connsiteX4" fmla="*/ 3575797 w 3575796"/>
              <a:gd name="connsiteY4" fmla="*/ 0 h 4732454"/>
              <a:gd name="connsiteX5" fmla="*/ 3575797 w 3575796"/>
              <a:gd name="connsiteY5" fmla="*/ 3577686 h 4732454"/>
              <a:gd name="connsiteX6" fmla="*/ 3575797 w 3575796"/>
              <a:gd name="connsiteY6" fmla="*/ 3577686 h 4732454"/>
              <a:gd name="connsiteX7" fmla="*/ 0 w 3575796"/>
              <a:gd name="connsiteY7" fmla="*/ 3577686 h 4732454"/>
              <a:gd name="connsiteX8" fmla="*/ 0 w 3575796"/>
              <a:gd name="connsiteY8" fmla="*/ 4732454 h 4732454"/>
              <a:gd name="connsiteX9" fmla="*/ 3575797 w 3575796"/>
              <a:gd name="connsiteY9" fmla="*/ 4732454 h 4732454"/>
              <a:gd name="connsiteX10" fmla="*/ 3575797 w 3575796"/>
              <a:gd name="connsiteY10" fmla="*/ 3577686 h 473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75796" h="4732454">
                <a:moveTo>
                  <a:pt x="3575797" y="3577686"/>
                </a:moveTo>
                <a:lnTo>
                  <a:pt x="3575797" y="3577686"/>
                </a:lnTo>
                <a:cubicBezTo>
                  <a:pt x="1600671" y="3577686"/>
                  <a:pt x="0" y="1975553"/>
                  <a:pt x="0" y="0"/>
                </a:cubicBezTo>
                <a:lnTo>
                  <a:pt x="0" y="0"/>
                </a:lnTo>
                <a:lnTo>
                  <a:pt x="3575797" y="0"/>
                </a:lnTo>
                <a:lnTo>
                  <a:pt x="3575797" y="3577686"/>
                </a:lnTo>
                <a:close/>
                <a:moveTo>
                  <a:pt x="3575797" y="3577686"/>
                </a:moveTo>
                <a:lnTo>
                  <a:pt x="0" y="3577686"/>
                </a:lnTo>
                <a:lnTo>
                  <a:pt x="0" y="4732454"/>
                </a:lnTo>
                <a:lnTo>
                  <a:pt x="3575797" y="4732454"/>
                </a:lnTo>
                <a:lnTo>
                  <a:pt x="3575797" y="3577686"/>
                </a:lnTo>
                <a:close/>
              </a:path>
            </a:pathLst>
          </a:custGeom>
          <a:solidFill>
            <a:srgbClr val="FFFFFF"/>
          </a:solidFill>
          <a:ln w="19050" cap="flat">
            <a:noFill/>
            <a:prstDash val="solid"/>
            <a:miter/>
          </a:ln>
        </p:spPr>
        <p:txBody>
          <a:bodyPr rtlCol="0" anchor="ctr"/>
          <a:lstStyle/>
          <a:p>
            <a:endParaRPr lang="en-US"/>
          </a:p>
        </p:txBody>
      </p:sp>
      <p:sp>
        <p:nvSpPr>
          <p:cNvPr id="17" name="Title 4">
            <a:extLst>
              <a:ext uri="{FF2B5EF4-FFF2-40B4-BE49-F238E27FC236}">
                <a16:creationId xmlns:a16="http://schemas.microsoft.com/office/drawing/2014/main" id="{52FC55E9-B725-C11B-A622-EC08EED25EA1}"/>
              </a:ext>
            </a:extLst>
          </p:cNvPr>
          <p:cNvSpPr>
            <a:spLocks noGrp="1"/>
          </p:cNvSpPr>
          <p:nvPr>
            <p:ph type="title" hasCustomPrompt="1"/>
          </p:nvPr>
        </p:nvSpPr>
        <p:spPr>
          <a:xfrm>
            <a:off x="8040688" y="703222"/>
            <a:ext cx="3600450" cy="1354217"/>
          </a:xfrm>
        </p:spPr>
        <p:txBody>
          <a:bodyPr vert="horz" wrap="square" lIns="0" tIns="0" rIns="0" bIns="0">
            <a:normAutofit/>
          </a:bodyPr>
          <a:lstStyle>
            <a:lvl1pPr>
              <a:lnSpc>
                <a:spcPct val="100000"/>
              </a:lnSpc>
              <a:defRPr sz="8800">
                <a:solidFill>
                  <a:schemeClr val="tx2"/>
                </a:solidFill>
              </a:defRPr>
            </a:lvl1pPr>
          </a:lstStyle>
          <a:p>
            <a:r>
              <a:rPr lang="en-US"/>
              <a:t>A</a:t>
            </a:r>
          </a:p>
        </p:txBody>
      </p:sp>
      <p:sp>
        <p:nvSpPr>
          <p:cNvPr id="18" name="Text Placeholder 7">
            <a:extLst>
              <a:ext uri="{FF2B5EF4-FFF2-40B4-BE49-F238E27FC236}">
                <a16:creationId xmlns:a16="http://schemas.microsoft.com/office/drawing/2014/main" id="{671E8F41-82EF-3AED-1837-AEE728EA8DE1}"/>
              </a:ext>
            </a:extLst>
          </p:cNvPr>
          <p:cNvSpPr>
            <a:spLocks noGrp="1"/>
          </p:cNvSpPr>
          <p:nvPr>
            <p:ph type="body" idx="1" hasCustomPrompt="1"/>
          </p:nvPr>
        </p:nvSpPr>
        <p:spPr>
          <a:xfrm>
            <a:off x="8040688" y="2138362"/>
            <a:ext cx="3600450" cy="808038"/>
          </a:xfrm>
        </p:spPr>
        <p:txBody>
          <a:bodyPr lIns="0" tIns="0" rIns="0" bIns="0">
            <a:normAutofit/>
          </a:bodyPr>
          <a:lstStyle>
            <a:lvl1pPr marL="0" indent="0">
              <a:buNone/>
              <a:defRPr sz="3600" b="1">
                <a:solidFill>
                  <a:schemeClr val="tx2"/>
                </a:solidFill>
                <a:latin typeface="+mj-lt"/>
              </a:defRPr>
            </a:lvl1pPr>
          </a:lstStyle>
          <a:p>
            <a:r>
              <a:rPr lang="en-US"/>
              <a:t>Divider title</a:t>
            </a:r>
          </a:p>
        </p:txBody>
      </p:sp>
      <p:pic>
        <p:nvPicPr>
          <p:cNvPr id="6" name="Graphic 5">
            <a:extLst>
              <a:ext uri="{FF2B5EF4-FFF2-40B4-BE49-F238E27FC236}">
                <a16:creationId xmlns:a16="http://schemas.microsoft.com/office/drawing/2014/main" id="{613FB691-4703-26FA-A25D-A046BABB1EF4}"/>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595317" y="-62632"/>
            <a:ext cx="1584960" cy="894079"/>
          </a:xfrm>
          <a:prstGeom prst="rect">
            <a:avLst/>
          </a:prstGeom>
        </p:spPr>
      </p:pic>
    </p:spTree>
    <p:extLst>
      <p:ext uri="{BB962C8B-B14F-4D97-AF65-F5344CB8AC3E}">
        <p14:creationId xmlns:p14="http://schemas.microsoft.com/office/powerpoint/2010/main" val="17587965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Thank you_Dark 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3DFF4B1-D1ED-AC6C-8CD4-A8663CEED01A}"/>
              </a:ext>
            </a:extLst>
          </p:cNvPr>
          <p:cNvGraphicFramePr>
            <a:graphicFrameLocks noChangeAspect="1"/>
          </p:cNvGraphicFramePr>
          <p:nvPr userDrawn="1">
            <p:custDataLst>
              <p:tags r:id="rId1"/>
            </p:custDataLst>
            <p:extLst>
              <p:ext uri="{D42A27DB-BD31-4B8C-83A1-F6EECF244321}">
                <p14:modId xmlns:p14="http://schemas.microsoft.com/office/powerpoint/2010/main" val="3672735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3" name="think-cell data - do not delete" hidden="1">
                        <a:extLst>
                          <a:ext uri="{FF2B5EF4-FFF2-40B4-BE49-F238E27FC236}">
                            <a16:creationId xmlns:a16="http://schemas.microsoft.com/office/drawing/2014/main" id="{B3DFF4B1-D1ED-AC6C-8CD4-A8663CEED0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Picture Placeholder 37">
            <a:extLst>
              <a:ext uri="{FF2B5EF4-FFF2-40B4-BE49-F238E27FC236}">
                <a16:creationId xmlns:a16="http://schemas.microsoft.com/office/drawing/2014/main" id="{CC9B2B98-6585-1082-D965-48AAC57078AA}"/>
              </a:ext>
            </a:extLst>
          </p:cNvPr>
          <p:cNvSpPr>
            <a:spLocks noGrp="1"/>
          </p:cNvSpPr>
          <p:nvPr>
            <p:ph type="pic" sz="quarter" idx="14" hasCustomPrompt="1"/>
          </p:nvPr>
        </p:nvSpPr>
        <p:spPr>
          <a:xfrm>
            <a:off x="0" y="0"/>
            <a:ext cx="12192001" cy="6858000"/>
          </a:xfrm>
          <a:prstGeom prst="rect">
            <a:avLst/>
          </a:prstGeom>
          <a:solidFill>
            <a:schemeClr val="bg2">
              <a:lumMod val="95000"/>
            </a:schemeClr>
          </a:solidFill>
        </p:spPr>
        <p:txBody>
          <a:bodyPr wrap="square" anchor="ctr">
            <a:noAutofit/>
          </a:bodyPr>
          <a:lstStyle>
            <a:lvl1pPr marL="0" indent="0" algn="ctr">
              <a:buNone/>
              <a:defRPr sz="1800">
                <a:solidFill>
                  <a:schemeClr val="bg2">
                    <a:lumMod val="75000"/>
                  </a:schemeClr>
                </a:solidFill>
              </a:defRPr>
            </a:lvl1pPr>
          </a:lstStyle>
          <a:p>
            <a:r>
              <a:rPr lang="en-US"/>
              <a:t>Click to add image</a:t>
            </a:r>
          </a:p>
        </p:txBody>
      </p:sp>
      <p:sp>
        <p:nvSpPr>
          <p:cNvPr id="2" name="Freeform 7">
            <a:extLst>
              <a:ext uri="{FF2B5EF4-FFF2-40B4-BE49-F238E27FC236}">
                <a16:creationId xmlns:a16="http://schemas.microsoft.com/office/drawing/2014/main" id="{D2C3B750-697A-220E-9D72-0DB8089633DC}"/>
              </a:ext>
            </a:extLst>
          </p:cNvPr>
          <p:cNvSpPr/>
          <p:nvPr userDrawn="1"/>
        </p:nvSpPr>
        <p:spPr>
          <a:xfrm>
            <a:off x="7010400" y="315"/>
            <a:ext cx="5181600" cy="6857685"/>
          </a:xfrm>
          <a:custGeom>
            <a:avLst/>
            <a:gdLst>
              <a:gd name="connsiteX0" fmla="*/ 3575797 w 3575796"/>
              <a:gd name="connsiteY0" fmla="*/ 3577686 h 4732454"/>
              <a:gd name="connsiteX1" fmla="*/ 3575797 w 3575796"/>
              <a:gd name="connsiteY1" fmla="*/ 3577686 h 4732454"/>
              <a:gd name="connsiteX2" fmla="*/ 0 w 3575796"/>
              <a:gd name="connsiteY2" fmla="*/ 0 h 4732454"/>
              <a:gd name="connsiteX3" fmla="*/ 0 w 3575796"/>
              <a:gd name="connsiteY3" fmla="*/ 0 h 4732454"/>
              <a:gd name="connsiteX4" fmla="*/ 3575797 w 3575796"/>
              <a:gd name="connsiteY4" fmla="*/ 0 h 4732454"/>
              <a:gd name="connsiteX5" fmla="*/ 3575797 w 3575796"/>
              <a:gd name="connsiteY5" fmla="*/ 3577686 h 4732454"/>
              <a:gd name="connsiteX6" fmla="*/ 3575797 w 3575796"/>
              <a:gd name="connsiteY6" fmla="*/ 3577686 h 4732454"/>
              <a:gd name="connsiteX7" fmla="*/ 0 w 3575796"/>
              <a:gd name="connsiteY7" fmla="*/ 3577686 h 4732454"/>
              <a:gd name="connsiteX8" fmla="*/ 0 w 3575796"/>
              <a:gd name="connsiteY8" fmla="*/ 4732454 h 4732454"/>
              <a:gd name="connsiteX9" fmla="*/ 3575797 w 3575796"/>
              <a:gd name="connsiteY9" fmla="*/ 4732454 h 4732454"/>
              <a:gd name="connsiteX10" fmla="*/ 3575797 w 3575796"/>
              <a:gd name="connsiteY10" fmla="*/ 3577686 h 473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75796" h="4732454">
                <a:moveTo>
                  <a:pt x="3575797" y="3577686"/>
                </a:moveTo>
                <a:lnTo>
                  <a:pt x="3575797" y="3577686"/>
                </a:lnTo>
                <a:cubicBezTo>
                  <a:pt x="1600671" y="3577686"/>
                  <a:pt x="0" y="1975553"/>
                  <a:pt x="0" y="0"/>
                </a:cubicBezTo>
                <a:lnTo>
                  <a:pt x="0" y="0"/>
                </a:lnTo>
                <a:lnTo>
                  <a:pt x="3575797" y="0"/>
                </a:lnTo>
                <a:lnTo>
                  <a:pt x="3575797" y="3577686"/>
                </a:lnTo>
                <a:close/>
                <a:moveTo>
                  <a:pt x="3575797" y="3577686"/>
                </a:moveTo>
                <a:lnTo>
                  <a:pt x="0" y="3577686"/>
                </a:lnTo>
                <a:lnTo>
                  <a:pt x="0" y="4732454"/>
                </a:lnTo>
                <a:lnTo>
                  <a:pt x="3575797" y="4732454"/>
                </a:lnTo>
                <a:lnTo>
                  <a:pt x="3575797" y="3577686"/>
                </a:lnTo>
                <a:close/>
              </a:path>
            </a:pathLst>
          </a:custGeom>
          <a:solidFill>
            <a:srgbClr val="FFFFFF">
              <a:alpha val="83922"/>
            </a:srgbClr>
          </a:solidFill>
          <a:ln w="19050" cap="flat">
            <a:noFill/>
            <a:prstDash val="solid"/>
            <a:miter/>
          </a:ln>
        </p:spPr>
        <p:txBody>
          <a:bodyPr rtlCol="0" anchor="ctr"/>
          <a:lstStyle/>
          <a:p>
            <a:endParaRPr lang="en-US"/>
          </a:p>
        </p:txBody>
      </p:sp>
      <p:sp>
        <p:nvSpPr>
          <p:cNvPr id="8" name="Text Placeholder 7">
            <a:extLst>
              <a:ext uri="{FF2B5EF4-FFF2-40B4-BE49-F238E27FC236}">
                <a16:creationId xmlns:a16="http://schemas.microsoft.com/office/drawing/2014/main" id="{335622EA-4D30-348C-89CB-8C2CD7D00765}"/>
              </a:ext>
            </a:extLst>
          </p:cNvPr>
          <p:cNvSpPr>
            <a:spLocks noGrp="1"/>
          </p:cNvSpPr>
          <p:nvPr>
            <p:ph type="body" sz="quarter" idx="15" hasCustomPrompt="1"/>
          </p:nvPr>
        </p:nvSpPr>
        <p:spPr>
          <a:xfrm>
            <a:off x="1430945" y="2866656"/>
            <a:ext cx="3148618" cy="830997"/>
          </a:xfrm>
        </p:spPr>
        <p:txBody>
          <a:bodyPr wrap="none" anchor="ctr" anchorCtr="0">
            <a:normAutofit/>
          </a:bodyPr>
          <a:lstStyle>
            <a:lvl1pPr marL="0" indent="0" algn="ctr" defTabSz="914400" rtl="0" eaLnBrk="1" latinLnBrk="0" hangingPunct="1">
              <a:lnSpc>
                <a:spcPct val="100000"/>
              </a:lnSpc>
              <a:spcBef>
                <a:spcPts val="0"/>
              </a:spcBef>
              <a:buFont typeface="Arial" panose="020B0604020202020204" pitchFamily="34" charset="0"/>
              <a:buNone/>
              <a:defRPr lang="en-US" sz="4800" b="1" kern="1200" dirty="0" smtClean="0">
                <a:solidFill>
                  <a:schemeClr val="tx2"/>
                </a:solidFill>
                <a:latin typeface="+mj-lt"/>
                <a:ea typeface="Urbanist SemiBold" panose="020B0A04040200000203" pitchFamily="34" charset="77"/>
                <a:cs typeface="Urbanist SemiBold" panose="020B0A04040200000203" pitchFamily="34" charset="77"/>
              </a:defRPr>
            </a:lvl1pPr>
            <a:lvl2pPr marL="0" indent="0" algn="ctr" defTabSz="914400" rtl="0" eaLnBrk="1" latinLnBrk="0" hangingPunct="1">
              <a:lnSpc>
                <a:spcPct val="90000"/>
              </a:lnSpc>
              <a:spcBef>
                <a:spcPts val="1000"/>
              </a:spcBef>
              <a:buFont typeface="Arial" panose="020B0604020202020204" pitchFamily="34" charset="0"/>
              <a:buNone/>
              <a:defRPr lang="en-US" sz="4800" b="1" kern="1200" dirty="0" smtClean="0">
                <a:solidFill>
                  <a:schemeClr val="tx1"/>
                </a:solidFill>
                <a:latin typeface="Urbanist SemiBold" panose="020B0A04040200000203" pitchFamily="34" charset="77"/>
                <a:ea typeface="Urbanist SemiBold" panose="020B0A04040200000203" pitchFamily="34" charset="77"/>
                <a:cs typeface="Urbanist SemiBold" panose="020B0A04040200000203" pitchFamily="34" charset="77"/>
              </a:defRPr>
            </a:lvl2pPr>
            <a:lvl3pPr marL="0" indent="0" algn="ctr" defTabSz="914400" rtl="0" eaLnBrk="1" latinLnBrk="0" hangingPunct="1">
              <a:lnSpc>
                <a:spcPct val="90000"/>
              </a:lnSpc>
              <a:spcBef>
                <a:spcPts val="1000"/>
              </a:spcBef>
              <a:buFont typeface="Arial" panose="020B0604020202020204" pitchFamily="34" charset="0"/>
              <a:buNone/>
              <a:defRPr lang="en-US" sz="4800" b="1" kern="1200" dirty="0" smtClean="0">
                <a:solidFill>
                  <a:schemeClr val="tx1"/>
                </a:solidFill>
                <a:latin typeface="Urbanist SemiBold" panose="020B0A04040200000203" pitchFamily="34" charset="77"/>
                <a:ea typeface="Urbanist SemiBold" panose="020B0A04040200000203" pitchFamily="34" charset="77"/>
                <a:cs typeface="Urbanist SemiBold" panose="020B0A04040200000203" pitchFamily="34" charset="77"/>
              </a:defRPr>
            </a:lvl3pPr>
            <a:lvl4pPr marL="0" indent="0" algn="ctr" defTabSz="914400" rtl="0" eaLnBrk="1" latinLnBrk="0" hangingPunct="1">
              <a:lnSpc>
                <a:spcPct val="90000"/>
              </a:lnSpc>
              <a:spcBef>
                <a:spcPts val="1000"/>
              </a:spcBef>
              <a:buFont typeface="Arial" panose="020B0604020202020204" pitchFamily="34" charset="0"/>
              <a:buNone/>
              <a:defRPr lang="en-US" sz="4800" b="1" kern="1200" dirty="0" smtClean="0">
                <a:solidFill>
                  <a:schemeClr val="tx1"/>
                </a:solidFill>
                <a:latin typeface="Urbanist SemiBold" panose="020B0A04040200000203" pitchFamily="34" charset="77"/>
                <a:ea typeface="Urbanist SemiBold" panose="020B0A04040200000203" pitchFamily="34" charset="77"/>
                <a:cs typeface="Urbanist SemiBold" panose="020B0A04040200000203" pitchFamily="34" charset="77"/>
              </a:defRPr>
            </a:lvl4pPr>
            <a:lvl5pPr marL="0" indent="0" algn="ctr" defTabSz="914400" rtl="0" eaLnBrk="1" latinLnBrk="0" hangingPunct="1">
              <a:lnSpc>
                <a:spcPct val="90000"/>
              </a:lnSpc>
              <a:spcBef>
                <a:spcPts val="1000"/>
              </a:spcBef>
              <a:buFont typeface="Arial" panose="020B0604020202020204" pitchFamily="34" charset="0"/>
              <a:buNone/>
              <a:defRPr lang="en-US" sz="4800" b="1" kern="1200" dirty="0">
                <a:solidFill>
                  <a:schemeClr val="tx1"/>
                </a:solidFill>
                <a:latin typeface="Urbanist SemiBold" panose="020B0A04040200000203" pitchFamily="34" charset="77"/>
                <a:ea typeface="Urbanist SemiBold" panose="020B0A04040200000203" pitchFamily="34" charset="77"/>
                <a:cs typeface="Urbanist SemiBold" panose="020B0A04040200000203" pitchFamily="34" charset="77"/>
              </a:defRPr>
            </a:lvl5pPr>
          </a:lstStyle>
          <a:p>
            <a:pPr lvl="0"/>
            <a:r>
              <a:rPr lang="en-US"/>
              <a:t>Thank You</a:t>
            </a:r>
          </a:p>
        </p:txBody>
      </p:sp>
      <p:pic>
        <p:nvPicPr>
          <p:cNvPr id="10" name="Graphic 9">
            <a:extLst>
              <a:ext uri="{FF2B5EF4-FFF2-40B4-BE49-F238E27FC236}">
                <a16:creationId xmlns:a16="http://schemas.microsoft.com/office/drawing/2014/main" id="{D947E332-7EDD-9A60-E038-F3BF6D62458D}"/>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459754" y="0"/>
            <a:ext cx="2735412" cy="1543050"/>
          </a:xfrm>
          <a:prstGeom prst="rect">
            <a:avLst/>
          </a:prstGeom>
        </p:spPr>
      </p:pic>
    </p:spTree>
    <p:extLst>
      <p:ext uri="{BB962C8B-B14F-4D97-AF65-F5344CB8AC3E}">
        <p14:creationId xmlns:p14="http://schemas.microsoft.com/office/powerpoint/2010/main" val="17398115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097A567E-CFFE-4BBF-8BF1-C9A9DDA4E52C}" type="datetime1">
              <a:rPr lang="en-US" smtClean="0"/>
              <a:t>10/17/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E2432D5-D034-4DDB-8AF2-6E3C66AEC152}" type="slidenum">
              <a:rPr lang="en-US" smtClean="0"/>
              <a:t>‹#›</a:t>
            </a:fld>
            <a:endParaRPr lang="en-US"/>
          </a:p>
        </p:txBody>
      </p:sp>
    </p:spTree>
    <p:extLst>
      <p:ext uri="{BB962C8B-B14F-4D97-AF65-F5344CB8AC3E}">
        <p14:creationId xmlns:p14="http://schemas.microsoft.com/office/powerpoint/2010/main" val="3478367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Onda Sólido">
    <p:spTree>
      <p:nvGrpSpPr>
        <p:cNvPr id="1" name=""/>
        <p:cNvGrpSpPr/>
        <p:nvPr/>
      </p:nvGrpSpPr>
      <p:grpSpPr>
        <a:xfrm>
          <a:off x="0" y="0"/>
          <a:ext cx="0" cy="0"/>
          <a:chOff x="0" y="0"/>
          <a:chExt cx="0" cy="0"/>
        </a:xfrm>
      </p:grpSpPr>
      <p:pic>
        <p:nvPicPr>
          <p:cNvPr id="2" name="Gráfico 1">
            <a:extLst>
              <a:ext uri="{FF2B5EF4-FFF2-40B4-BE49-F238E27FC236}">
                <a16:creationId xmlns:a16="http://schemas.microsoft.com/office/drawing/2014/main" id="{0D540576-EB53-440B-4DD6-0AE4420FB0E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426200" y="0"/>
            <a:ext cx="5765800" cy="6858000"/>
          </a:xfrm>
          <a:prstGeom prst="rect">
            <a:avLst/>
          </a:prstGeom>
        </p:spPr>
      </p:pic>
      <p:cxnSp>
        <p:nvCxnSpPr>
          <p:cNvPr id="9" name="Conector recto 8">
            <a:extLst>
              <a:ext uri="{FF2B5EF4-FFF2-40B4-BE49-F238E27FC236}">
                <a16:creationId xmlns:a16="http://schemas.microsoft.com/office/drawing/2014/main" id="{73D5F10E-0D8F-12B8-6EDD-6FF5E3AF712B}"/>
              </a:ext>
            </a:extLst>
          </p:cNvPr>
          <p:cNvCxnSpPr>
            <a:cxnSpLocks/>
          </p:cNvCxnSpPr>
          <p:nvPr userDrawn="1"/>
        </p:nvCxnSpPr>
        <p:spPr>
          <a:xfrm>
            <a:off x="4950691" y="799490"/>
            <a:ext cx="2930478" cy="0"/>
          </a:xfrm>
          <a:prstGeom prst="line">
            <a:avLst/>
          </a:prstGeom>
          <a:ln w="19050">
            <a:solidFill>
              <a:srgbClr val="E33C5B"/>
            </a:solidFill>
          </a:ln>
        </p:spPr>
        <p:style>
          <a:lnRef idx="1">
            <a:schemeClr val="accent1"/>
          </a:lnRef>
          <a:fillRef idx="0">
            <a:schemeClr val="accent1"/>
          </a:fillRef>
          <a:effectRef idx="0">
            <a:schemeClr val="accent1"/>
          </a:effectRef>
          <a:fontRef idx="minor">
            <a:schemeClr val="tx1"/>
          </a:fontRef>
        </p:style>
      </p:cxnSp>
      <p:sp>
        <p:nvSpPr>
          <p:cNvPr id="11" name="Marcador de texto 16">
            <a:extLst>
              <a:ext uri="{FF2B5EF4-FFF2-40B4-BE49-F238E27FC236}">
                <a16:creationId xmlns:a16="http://schemas.microsoft.com/office/drawing/2014/main" id="{E40CD02C-81A8-29C6-0A5C-1E3AD7B09306}"/>
              </a:ext>
            </a:extLst>
          </p:cNvPr>
          <p:cNvSpPr>
            <a:spLocks noGrp="1"/>
          </p:cNvSpPr>
          <p:nvPr>
            <p:ph type="body" sz="quarter" idx="11"/>
          </p:nvPr>
        </p:nvSpPr>
        <p:spPr>
          <a:xfrm>
            <a:off x="333375" y="433964"/>
            <a:ext cx="4497243" cy="859126"/>
          </a:xfrm>
          <a:prstGeom prst="rect">
            <a:avLst/>
          </a:prstGeom>
        </p:spPr>
        <p:txBody>
          <a:bodyPr/>
          <a:lstStyle>
            <a:lvl1pPr marL="0" indent="0" rtl="0">
              <a:buNone/>
              <a:defRPr sz="3400" b="1">
                <a:solidFill>
                  <a:srgbClr val="014B7F"/>
                </a:solidFill>
                <a:latin typeface="Poppins" panose="00000500000000000000" pitchFamily="2" charset="0"/>
                <a:cs typeface="Poppins" panose="00000500000000000000" pitchFamily="2" charset="0"/>
              </a:defRPr>
            </a:lvl1pPr>
            <a:lvl2pPr marL="457200" indent="0">
              <a:buNone/>
              <a:defRPr/>
            </a:lvl2pPr>
          </a:lstStyle>
          <a:p>
            <a:pPr lvl="0"/>
            <a:r>
              <a:rPr lang="es-ES" dirty="0"/>
              <a:t>Haga clic para modificar los estilos de texto del patrón</a:t>
            </a:r>
          </a:p>
        </p:txBody>
      </p:sp>
      <p:sp>
        <p:nvSpPr>
          <p:cNvPr id="12" name="Freeform 5">
            <a:extLst>
              <a:ext uri="{FF2B5EF4-FFF2-40B4-BE49-F238E27FC236}">
                <a16:creationId xmlns:a16="http://schemas.microsoft.com/office/drawing/2014/main" id="{73193245-1EC3-CFE2-53CC-3CDF6AF4117E}"/>
              </a:ext>
            </a:extLst>
          </p:cNvPr>
          <p:cNvSpPr>
            <a:spLocks/>
          </p:cNvSpPr>
          <p:nvPr userDrawn="1"/>
        </p:nvSpPr>
        <p:spPr bwMode="auto">
          <a:xfrm flipH="1">
            <a:off x="8021844" y="0"/>
            <a:ext cx="1428905" cy="2172136"/>
          </a:xfrm>
          <a:custGeom>
            <a:avLst/>
            <a:gdLst>
              <a:gd name="T0" fmla="*/ 464 w 464"/>
              <a:gd name="T1" fmla="*/ 710 h 710"/>
              <a:gd name="T2" fmla="*/ 187 w 464"/>
              <a:gd name="T3" fmla="*/ 381 h 710"/>
              <a:gd name="T4" fmla="*/ 31 w 464"/>
              <a:gd name="T5" fmla="*/ 0 h 710"/>
              <a:gd name="T6" fmla="*/ 0 w 464"/>
              <a:gd name="T7" fmla="*/ 0 h 710"/>
              <a:gd name="T8" fmla="*/ 137 w 464"/>
              <a:gd name="T9" fmla="*/ 303 h 710"/>
              <a:gd name="T10" fmla="*/ 464 w 464"/>
              <a:gd name="T11" fmla="*/ 710 h 710"/>
            </a:gdLst>
            <a:ahLst/>
            <a:cxnLst>
              <a:cxn ang="0">
                <a:pos x="T0" y="T1"/>
              </a:cxn>
              <a:cxn ang="0">
                <a:pos x="T2" y="T3"/>
              </a:cxn>
              <a:cxn ang="0">
                <a:pos x="T4" y="T5"/>
              </a:cxn>
              <a:cxn ang="0">
                <a:pos x="T6" y="T7"/>
              </a:cxn>
              <a:cxn ang="0">
                <a:pos x="T8" y="T9"/>
              </a:cxn>
              <a:cxn ang="0">
                <a:pos x="T10" y="T11"/>
              </a:cxn>
            </a:cxnLst>
            <a:rect l="0" t="0" r="r" b="b"/>
            <a:pathLst>
              <a:path w="464" h="710">
                <a:moveTo>
                  <a:pt x="464" y="710"/>
                </a:moveTo>
                <a:cubicBezTo>
                  <a:pt x="340" y="662"/>
                  <a:pt x="243" y="579"/>
                  <a:pt x="187" y="381"/>
                </a:cubicBezTo>
                <a:cubicBezTo>
                  <a:pt x="132" y="184"/>
                  <a:pt x="64" y="55"/>
                  <a:pt x="31" y="0"/>
                </a:cubicBezTo>
                <a:cubicBezTo>
                  <a:pt x="0" y="0"/>
                  <a:pt x="0" y="0"/>
                  <a:pt x="0" y="0"/>
                </a:cubicBezTo>
                <a:cubicBezTo>
                  <a:pt x="48" y="82"/>
                  <a:pt x="110" y="200"/>
                  <a:pt x="137" y="303"/>
                </a:cubicBezTo>
                <a:cubicBezTo>
                  <a:pt x="216" y="561"/>
                  <a:pt x="296" y="666"/>
                  <a:pt x="464" y="710"/>
                </a:cubicBezTo>
                <a:close/>
              </a:path>
            </a:pathLst>
          </a:custGeom>
          <a:solidFill>
            <a:srgbClr val="014B7F"/>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6">
            <a:extLst>
              <a:ext uri="{FF2B5EF4-FFF2-40B4-BE49-F238E27FC236}">
                <a16:creationId xmlns:a16="http://schemas.microsoft.com/office/drawing/2014/main" id="{B7E67CC8-F681-3C3D-D138-F7AA007C747A}"/>
              </a:ext>
            </a:extLst>
          </p:cNvPr>
          <p:cNvSpPr>
            <a:spLocks/>
          </p:cNvSpPr>
          <p:nvPr userDrawn="1"/>
        </p:nvSpPr>
        <p:spPr bwMode="auto">
          <a:xfrm flipH="1">
            <a:off x="6308699" y="2477771"/>
            <a:ext cx="1591132" cy="4380229"/>
          </a:xfrm>
          <a:custGeom>
            <a:avLst/>
            <a:gdLst>
              <a:gd name="T0" fmla="*/ 186 w 517"/>
              <a:gd name="T1" fmla="*/ 807 h 1432"/>
              <a:gd name="T2" fmla="*/ 283 w 517"/>
              <a:gd name="T3" fmla="*/ 0 h 1432"/>
              <a:gd name="T4" fmla="*/ 259 w 517"/>
              <a:gd name="T5" fmla="*/ 335 h 1432"/>
              <a:gd name="T6" fmla="*/ 474 w 517"/>
              <a:gd name="T7" fmla="*/ 1432 h 1432"/>
              <a:gd name="T8" fmla="*/ 517 w 517"/>
              <a:gd name="T9" fmla="*/ 1432 h 1432"/>
              <a:gd name="T10" fmla="*/ 186 w 517"/>
              <a:gd name="T11" fmla="*/ 807 h 1432"/>
            </a:gdLst>
            <a:ahLst/>
            <a:cxnLst>
              <a:cxn ang="0">
                <a:pos x="T0" y="T1"/>
              </a:cxn>
              <a:cxn ang="0">
                <a:pos x="T2" y="T3"/>
              </a:cxn>
              <a:cxn ang="0">
                <a:pos x="T4" y="T5"/>
              </a:cxn>
              <a:cxn ang="0">
                <a:pos x="T6" y="T7"/>
              </a:cxn>
              <a:cxn ang="0">
                <a:pos x="T8" y="T9"/>
              </a:cxn>
              <a:cxn ang="0">
                <a:pos x="T10" y="T11"/>
              </a:cxn>
            </a:cxnLst>
            <a:rect l="0" t="0" r="r" b="b"/>
            <a:pathLst>
              <a:path w="517" h="1432">
                <a:moveTo>
                  <a:pt x="186" y="807"/>
                </a:moveTo>
                <a:cubicBezTo>
                  <a:pt x="162" y="414"/>
                  <a:pt x="503" y="144"/>
                  <a:pt x="283" y="0"/>
                </a:cubicBezTo>
                <a:cubicBezTo>
                  <a:pt x="345" y="60"/>
                  <a:pt x="346" y="162"/>
                  <a:pt x="259" y="335"/>
                </a:cubicBezTo>
                <a:cubicBezTo>
                  <a:pt x="0" y="934"/>
                  <a:pt x="309" y="1293"/>
                  <a:pt x="474" y="1432"/>
                </a:cubicBezTo>
                <a:cubicBezTo>
                  <a:pt x="517" y="1432"/>
                  <a:pt x="517" y="1432"/>
                  <a:pt x="517" y="1432"/>
                </a:cubicBezTo>
                <a:cubicBezTo>
                  <a:pt x="449" y="1378"/>
                  <a:pt x="208" y="1167"/>
                  <a:pt x="186" y="807"/>
                </a:cubicBezTo>
                <a:close/>
              </a:path>
            </a:pathLst>
          </a:custGeom>
          <a:solidFill>
            <a:srgbClr val="014B7F"/>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2829EB76-AB17-2CA3-13B2-2A4C9D08F1C9}"/>
              </a:ext>
            </a:extLst>
          </p:cNvPr>
          <p:cNvSpPr>
            <a:spLocks/>
          </p:cNvSpPr>
          <p:nvPr userDrawn="1"/>
        </p:nvSpPr>
        <p:spPr bwMode="auto">
          <a:xfrm rot="1308052" flipH="1">
            <a:off x="7369263" y="-439877"/>
            <a:ext cx="1448006" cy="2411010"/>
          </a:xfrm>
          <a:custGeom>
            <a:avLst/>
            <a:gdLst>
              <a:gd name="T0" fmla="*/ 282 w 655"/>
              <a:gd name="T1" fmla="*/ 1201 h 1201"/>
              <a:gd name="T2" fmla="*/ 655 w 655"/>
              <a:gd name="T3" fmla="*/ 0 h 1201"/>
              <a:gd name="T4" fmla="*/ 264 w 655"/>
              <a:gd name="T5" fmla="*/ 0 h 1201"/>
              <a:gd name="T6" fmla="*/ 282 w 655"/>
              <a:gd name="T7" fmla="*/ 1201 h 1201"/>
            </a:gdLst>
            <a:ahLst/>
            <a:cxnLst>
              <a:cxn ang="0">
                <a:pos x="T0" y="T1"/>
              </a:cxn>
              <a:cxn ang="0">
                <a:pos x="T2" y="T3"/>
              </a:cxn>
              <a:cxn ang="0">
                <a:pos x="T4" y="T5"/>
              </a:cxn>
              <a:cxn ang="0">
                <a:pos x="T6" y="T7"/>
              </a:cxn>
            </a:cxnLst>
            <a:rect l="0" t="0" r="r" b="b"/>
            <a:pathLst>
              <a:path w="655" h="1201">
                <a:moveTo>
                  <a:pt x="282" y="1201"/>
                </a:moveTo>
                <a:cubicBezTo>
                  <a:pt x="282" y="1201"/>
                  <a:pt x="62" y="446"/>
                  <a:pt x="655" y="0"/>
                </a:cubicBezTo>
                <a:cubicBezTo>
                  <a:pt x="264" y="0"/>
                  <a:pt x="264" y="0"/>
                  <a:pt x="264" y="0"/>
                </a:cubicBezTo>
                <a:cubicBezTo>
                  <a:pt x="178" y="182"/>
                  <a:pt x="0" y="676"/>
                  <a:pt x="282" y="1201"/>
                </a:cubicBezTo>
                <a:close/>
              </a:path>
            </a:pathLst>
          </a:custGeom>
          <a:solidFill>
            <a:srgbClr val="014B7F"/>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Marcador de texto 21">
            <a:extLst>
              <a:ext uri="{FF2B5EF4-FFF2-40B4-BE49-F238E27FC236}">
                <a16:creationId xmlns:a16="http://schemas.microsoft.com/office/drawing/2014/main" id="{C340FA9E-814B-CF7B-0332-3BD6BDA4CB0C}"/>
              </a:ext>
            </a:extLst>
          </p:cNvPr>
          <p:cNvSpPr>
            <a:spLocks noGrp="1"/>
          </p:cNvSpPr>
          <p:nvPr>
            <p:ph type="body" sz="quarter" idx="12" hasCustomPrompt="1"/>
          </p:nvPr>
        </p:nvSpPr>
        <p:spPr>
          <a:xfrm>
            <a:off x="1097804" y="1449622"/>
            <a:ext cx="5875536" cy="4380229"/>
          </a:xfrm>
          <a:prstGeom prst="rect">
            <a:avLst/>
          </a:prstGeom>
        </p:spPr>
        <p:txBody>
          <a:bodyPr/>
          <a:lstStyle>
            <a:lvl1pPr marL="0" indent="0">
              <a:buNone/>
              <a:defRPr sz="1100">
                <a:solidFill>
                  <a:schemeClr val="tx1">
                    <a:lumMod val="65000"/>
                    <a:lumOff val="35000"/>
                  </a:schemeClr>
                </a:solidFill>
                <a:latin typeface="Poppins" panose="00000500000000000000" pitchFamily="2" charset="0"/>
                <a:cs typeface="Poppins" panose="00000500000000000000" pitchFamily="2" charset="0"/>
              </a:defRPr>
            </a:lvl1pPr>
          </a:lstStyle>
          <a:p>
            <a:pPr lvl="0"/>
            <a:r>
              <a:rPr lang="es-MX" dirty="0"/>
              <a:t>Cuerpo de texto</a:t>
            </a:r>
          </a:p>
        </p:txBody>
      </p:sp>
      <p:sp>
        <p:nvSpPr>
          <p:cNvPr id="17" name="Marcador de texto 23">
            <a:extLst>
              <a:ext uri="{FF2B5EF4-FFF2-40B4-BE49-F238E27FC236}">
                <a16:creationId xmlns:a16="http://schemas.microsoft.com/office/drawing/2014/main" id="{8995E8D6-39A6-C58A-7CA5-C3D858A74EB7}"/>
              </a:ext>
            </a:extLst>
          </p:cNvPr>
          <p:cNvSpPr>
            <a:spLocks noGrp="1"/>
          </p:cNvSpPr>
          <p:nvPr>
            <p:ph type="body" sz="quarter" idx="13" hasCustomPrompt="1"/>
          </p:nvPr>
        </p:nvSpPr>
        <p:spPr>
          <a:xfrm>
            <a:off x="1098550" y="1224246"/>
            <a:ext cx="5875338" cy="384175"/>
          </a:xfrm>
          <a:prstGeom prst="rect">
            <a:avLst/>
          </a:prstGeom>
        </p:spPr>
        <p:txBody>
          <a:bodyPr/>
          <a:lstStyle>
            <a:lvl1pPr marL="0" indent="0">
              <a:buNone/>
              <a:defRPr sz="1100" b="1">
                <a:solidFill>
                  <a:srgbClr val="014B7F"/>
                </a:solidFill>
                <a:latin typeface="Poppins" panose="00000500000000000000" pitchFamily="2" charset="0"/>
                <a:cs typeface="Poppins" panose="00000500000000000000" pitchFamily="2" charset="0"/>
              </a:defRPr>
            </a:lvl1pPr>
          </a:lstStyle>
          <a:p>
            <a:pPr lvl="0"/>
            <a:r>
              <a:rPr lang="es-MX" dirty="0"/>
              <a:t>SUBTÍTULO</a:t>
            </a:r>
          </a:p>
        </p:txBody>
      </p:sp>
      <p:pic>
        <p:nvPicPr>
          <p:cNvPr id="3" name="Gráfico 2">
            <a:extLst>
              <a:ext uri="{FF2B5EF4-FFF2-40B4-BE49-F238E27FC236}">
                <a16:creationId xmlns:a16="http://schemas.microsoft.com/office/drawing/2014/main" id="{3B32AFAA-9495-7B56-23E2-E558A94342F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33375" y="5971022"/>
            <a:ext cx="1697312" cy="789447"/>
          </a:xfrm>
          <a:prstGeom prst="rect">
            <a:avLst/>
          </a:prstGeom>
        </p:spPr>
      </p:pic>
    </p:spTree>
    <p:extLst>
      <p:ext uri="{BB962C8B-B14F-4D97-AF65-F5344CB8AC3E}">
        <p14:creationId xmlns:p14="http://schemas.microsoft.com/office/powerpoint/2010/main" val="12835385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exto e imágen">
    <p:spTree>
      <p:nvGrpSpPr>
        <p:cNvPr id="1" name=""/>
        <p:cNvGrpSpPr/>
        <p:nvPr/>
      </p:nvGrpSpPr>
      <p:grpSpPr>
        <a:xfrm>
          <a:off x="0" y="0"/>
          <a:ext cx="0" cy="0"/>
          <a:chOff x="0" y="0"/>
          <a:chExt cx="0" cy="0"/>
        </a:xfrm>
      </p:grpSpPr>
      <p:sp>
        <p:nvSpPr>
          <p:cNvPr id="2" name="Parallelogram 3">
            <a:extLst>
              <a:ext uri="{FF2B5EF4-FFF2-40B4-BE49-F238E27FC236}">
                <a16:creationId xmlns:a16="http://schemas.microsoft.com/office/drawing/2014/main" id="{35237EB8-E699-60A7-7788-EF46E787DAAA}"/>
              </a:ext>
            </a:extLst>
          </p:cNvPr>
          <p:cNvSpPr/>
          <p:nvPr userDrawn="1"/>
        </p:nvSpPr>
        <p:spPr>
          <a:xfrm rot="1475437">
            <a:off x="-652856" y="-3550298"/>
            <a:ext cx="4077477" cy="6951305"/>
          </a:xfrm>
          <a:custGeom>
            <a:avLst/>
            <a:gdLst>
              <a:gd name="connsiteX0" fmla="*/ 0 w 5812971"/>
              <a:gd name="connsiteY0" fmla="*/ 6858000 h 6858000"/>
              <a:gd name="connsiteX1" fmla="*/ 1522650 w 5812971"/>
              <a:gd name="connsiteY1" fmla="*/ 0 h 6858000"/>
              <a:gd name="connsiteX2" fmla="*/ 5812971 w 5812971"/>
              <a:gd name="connsiteY2" fmla="*/ 0 h 6858000"/>
              <a:gd name="connsiteX3" fmla="*/ 4290321 w 5812971"/>
              <a:gd name="connsiteY3" fmla="*/ 6858000 h 6858000"/>
              <a:gd name="connsiteX4" fmla="*/ 0 w 5812971"/>
              <a:gd name="connsiteY4" fmla="*/ 6858000 h 6858000"/>
              <a:gd name="connsiteX0" fmla="*/ 0 w 5812971"/>
              <a:gd name="connsiteY0" fmla="*/ 6858000 h 6858000"/>
              <a:gd name="connsiteX1" fmla="*/ 3528732 w 5812971"/>
              <a:gd name="connsiteY1" fmla="*/ 0 h 6858000"/>
              <a:gd name="connsiteX2" fmla="*/ 5812971 w 5812971"/>
              <a:gd name="connsiteY2" fmla="*/ 0 h 6858000"/>
              <a:gd name="connsiteX3" fmla="*/ 4290321 w 5812971"/>
              <a:gd name="connsiteY3" fmla="*/ 6858000 h 6858000"/>
              <a:gd name="connsiteX4" fmla="*/ 0 w 5812971"/>
              <a:gd name="connsiteY4" fmla="*/ 6858000 h 6858000"/>
              <a:gd name="connsiteX0" fmla="*/ 0 w 5812971"/>
              <a:gd name="connsiteY0" fmla="*/ 6858000 h 6858000"/>
              <a:gd name="connsiteX1" fmla="*/ 3528732 w 5812971"/>
              <a:gd name="connsiteY1" fmla="*/ 0 h 6858000"/>
              <a:gd name="connsiteX2" fmla="*/ 5812971 w 5812971"/>
              <a:gd name="connsiteY2" fmla="*/ 0 h 6858000"/>
              <a:gd name="connsiteX3" fmla="*/ 4290321 w 5812971"/>
              <a:gd name="connsiteY3" fmla="*/ 6858000 h 6858000"/>
              <a:gd name="connsiteX4" fmla="*/ 0 w 5812971"/>
              <a:gd name="connsiteY4" fmla="*/ 6858000 h 6858000"/>
              <a:gd name="connsiteX0" fmla="*/ 0 w 5812971"/>
              <a:gd name="connsiteY0" fmla="*/ 6858000 h 6858000"/>
              <a:gd name="connsiteX1" fmla="*/ 3528732 w 5812971"/>
              <a:gd name="connsiteY1" fmla="*/ 0 h 6858000"/>
              <a:gd name="connsiteX2" fmla="*/ 5812971 w 5812971"/>
              <a:gd name="connsiteY2" fmla="*/ 0 h 6858000"/>
              <a:gd name="connsiteX3" fmla="*/ 4290321 w 5812971"/>
              <a:gd name="connsiteY3" fmla="*/ 6858000 h 6858000"/>
              <a:gd name="connsiteX4" fmla="*/ 0 w 5812971"/>
              <a:gd name="connsiteY4" fmla="*/ 6858000 h 6858000"/>
              <a:gd name="connsiteX0" fmla="*/ 0 w 5812971"/>
              <a:gd name="connsiteY0" fmla="*/ 6858000 h 6858000"/>
              <a:gd name="connsiteX1" fmla="*/ 3528732 w 5812971"/>
              <a:gd name="connsiteY1" fmla="*/ 0 h 6858000"/>
              <a:gd name="connsiteX2" fmla="*/ 5812971 w 5812971"/>
              <a:gd name="connsiteY2" fmla="*/ 0 h 6858000"/>
              <a:gd name="connsiteX3" fmla="*/ 4290321 w 5812971"/>
              <a:gd name="connsiteY3" fmla="*/ 6858000 h 6858000"/>
              <a:gd name="connsiteX4" fmla="*/ 0 w 5812971"/>
              <a:gd name="connsiteY4" fmla="*/ 6858000 h 6858000"/>
              <a:gd name="connsiteX0" fmla="*/ 0 w 5812971"/>
              <a:gd name="connsiteY0" fmla="*/ 6858000 h 6858000"/>
              <a:gd name="connsiteX1" fmla="*/ 3528732 w 5812971"/>
              <a:gd name="connsiteY1" fmla="*/ 0 h 6858000"/>
              <a:gd name="connsiteX2" fmla="*/ 5812971 w 5812971"/>
              <a:gd name="connsiteY2" fmla="*/ 0 h 6858000"/>
              <a:gd name="connsiteX3" fmla="*/ 4290321 w 5812971"/>
              <a:gd name="connsiteY3" fmla="*/ 6858000 h 6858000"/>
              <a:gd name="connsiteX4" fmla="*/ 0 w 5812971"/>
              <a:gd name="connsiteY4" fmla="*/ 6858000 h 6858000"/>
              <a:gd name="connsiteX0" fmla="*/ 0 w 5812971"/>
              <a:gd name="connsiteY0" fmla="*/ 6858000 h 6858000"/>
              <a:gd name="connsiteX1" fmla="*/ 3528732 w 5812971"/>
              <a:gd name="connsiteY1" fmla="*/ 0 h 6858000"/>
              <a:gd name="connsiteX2" fmla="*/ 5812971 w 5812971"/>
              <a:gd name="connsiteY2" fmla="*/ 0 h 6858000"/>
              <a:gd name="connsiteX3" fmla="*/ 2368215 w 5812971"/>
              <a:gd name="connsiteY3" fmla="*/ 6774024 h 6858000"/>
              <a:gd name="connsiteX4" fmla="*/ 0 w 5812971"/>
              <a:gd name="connsiteY4" fmla="*/ 6858000 h 6858000"/>
              <a:gd name="connsiteX0" fmla="*/ 0 w 4413379"/>
              <a:gd name="connsiteY0" fmla="*/ 6858000 h 6858000"/>
              <a:gd name="connsiteX1" fmla="*/ 3528732 w 4413379"/>
              <a:gd name="connsiteY1" fmla="*/ 0 h 6858000"/>
              <a:gd name="connsiteX2" fmla="*/ 4413379 w 4413379"/>
              <a:gd name="connsiteY2" fmla="*/ 27992 h 6858000"/>
              <a:gd name="connsiteX3" fmla="*/ 2368215 w 4413379"/>
              <a:gd name="connsiteY3" fmla="*/ 6774024 h 6858000"/>
              <a:gd name="connsiteX4" fmla="*/ 0 w 4413379"/>
              <a:gd name="connsiteY4" fmla="*/ 6858000 h 6858000"/>
              <a:gd name="connsiteX0" fmla="*/ 0 w 4413379"/>
              <a:gd name="connsiteY0" fmla="*/ 6858000 h 6867330"/>
              <a:gd name="connsiteX1" fmla="*/ 3528732 w 4413379"/>
              <a:gd name="connsiteY1" fmla="*/ 0 h 6867330"/>
              <a:gd name="connsiteX2" fmla="*/ 4413379 w 4413379"/>
              <a:gd name="connsiteY2" fmla="*/ 27992 h 6867330"/>
              <a:gd name="connsiteX3" fmla="*/ 2358885 w 4413379"/>
              <a:gd name="connsiteY3" fmla="*/ 6867330 h 6867330"/>
              <a:gd name="connsiteX4" fmla="*/ 0 w 4413379"/>
              <a:gd name="connsiteY4" fmla="*/ 6858000 h 6867330"/>
              <a:gd name="connsiteX0" fmla="*/ 0 w 4450701"/>
              <a:gd name="connsiteY0" fmla="*/ 6876661 h 6885991"/>
              <a:gd name="connsiteX1" fmla="*/ 3528732 w 4450701"/>
              <a:gd name="connsiteY1" fmla="*/ 18661 h 6885991"/>
              <a:gd name="connsiteX2" fmla="*/ 4450701 w 4450701"/>
              <a:gd name="connsiteY2" fmla="*/ 0 h 6885991"/>
              <a:gd name="connsiteX3" fmla="*/ 2358885 w 4450701"/>
              <a:gd name="connsiteY3" fmla="*/ 6885991 h 6885991"/>
              <a:gd name="connsiteX4" fmla="*/ 0 w 4450701"/>
              <a:gd name="connsiteY4" fmla="*/ 6876661 h 6885991"/>
              <a:gd name="connsiteX0" fmla="*/ 0 w 4450701"/>
              <a:gd name="connsiteY0" fmla="*/ 6876661 h 6885991"/>
              <a:gd name="connsiteX1" fmla="*/ 3528732 w 4450701"/>
              <a:gd name="connsiteY1" fmla="*/ 18661 h 6885991"/>
              <a:gd name="connsiteX2" fmla="*/ 4450701 w 4450701"/>
              <a:gd name="connsiteY2" fmla="*/ 0 h 6885991"/>
              <a:gd name="connsiteX3" fmla="*/ 2358885 w 4450701"/>
              <a:gd name="connsiteY3" fmla="*/ 6885991 h 6885991"/>
              <a:gd name="connsiteX4" fmla="*/ 0 w 4450701"/>
              <a:gd name="connsiteY4" fmla="*/ 6876661 h 6885991"/>
              <a:gd name="connsiteX0" fmla="*/ 0 w 4450701"/>
              <a:gd name="connsiteY0" fmla="*/ 6876661 h 6885991"/>
              <a:gd name="connsiteX1" fmla="*/ 3528732 w 4450701"/>
              <a:gd name="connsiteY1" fmla="*/ 18661 h 6885991"/>
              <a:gd name="connsiteX2" fmla="*/ 4450701 w 4450701"/>
              <a:gd name="connsiteY2" fmla="*/ 0 h 6885991"/>
              <a:gd name="connsiteX3" fmla="*/ 2358885 w 4450701"/>
              <a:gd name="connsiteY3" fmla="*/ 6885991 h 6885991"/>
              <a:gd name="connsiteX4" fmla="*/ 0 w 4450701"/>
              <a:gd name="connsiteY4" fmla="*/ 6876661 h 6885991"/>
              <a:gd name="connsiteX0" fmla="*/ 0 w 4450701"/>
              <a:gd name="connsiteY0" fmla="*/ 6876661 h 6885991"/>
              <a:gd name="connsiteX1" fmla="*/ 3528732 w 4450701"/>
              <a:gd name="connsiteY1" fmla="*/ 18661 h 6885991"/>
              <a:gd name="connsiteX2" fmla="*/ 4450701 w 4450701"/>
              <a:gd name="connsiteY2" fmla="*/ 0 h 6885991"/>
              <a:gd name="connsiteX3" fmla="*/ 2358885 w 4450701"/>
              <a:gd name="connsiteY3" fmla="*/ 6885991 h 6885991"/>
              <a:gd name="connsiteX4" fmla="*/ 0 w 4450701"/>
              <a:gd name="connsiteY4" fmla="*/ 6876661 h 6885991"/>
              <a:gd name="connsiteX0" fmla="*/ 0 w 4450701"/>
              <a:gd name="connsiteY0" fmla="*/ 6876661 h 6885991"/>
              <a:gd name="connsiteX1" fmla="*/ 3528732 w 4450701"/>
              <a:gd name="connsiteY1" fmla="*/ 18661 h 6885991"/>
              <a:gd name="connsiteX2" fmla="*/ 4450701 w 4450701"/>
              <a:gd name="connsiteY2" fmla="*/ 0 h 6885991"/>
              <a:gd name="connsiteX3" fmla="*/ 2358885 w 4450701"/>
              <a:gd name="connsiteY3" fmla="*/ 6885991 h 6885991"/>
              <a:gd name="connsiteX4" fmla="*/ 0 w 4450701"/>
              <a:gd name="connsiteY4" fmla="*/ 6876661 h 6885991"/>
              <a:gd name="connsiteX0" fmla="*/ 0 w 4450701"/>
              <a:gd name="connsiteY0" fmla="*/ 6876661 h 6885991"/>
              <a:gd name="connsiteX1" fmla="*/ 3528732 w 4450701"/>
              <a:gd name="connsiteY1" fmla="*/ 18661 h 6885991"/>
              <a:gd name="connsiteX2" fmla="*/ 4450701 w 4450701"/>
              <a:gd name="connsiteY2" fmla="*/ 0 h 6885991"/>
              <a:gd name="connsiteX3" fmla="*/ 2358885 w 4450701"/>
              <a:gd name="connsiteY3" fmla="*/ 6885991 h 6885991"/>
              <a:gd name="connsiteX4" fmla="*/ 0 w 4450701"/>
              <a:gd name="connsiteY4" fmla="*/ 6876661 h 6885991"/>
              <a:gd name="connsiteX0" fmla="*/ 0 w 4450701"/>
              <a:gd name="connsiteY0" fmla="*/ 6876661 h 6876661"/>
              <a:gd name="connsiteX1" fmla="*/ 3528732 w 4450701"/>
              <a:gd name="connsiteY1" fmla="*/ 18661 h 6876661"/>
              <a:gd name="connsiteX2" fmla="*/ 4450701 w 4450701"/>
              <a:gd name="connsiteY2" fmla="*/ 0 h 6876661"/>
              <a:gd name="connsiteX3" fmla="*/ 1033938 w 4450701"/>
              <a:gd name="connsiteY3" fmla="*/ 6811346 h 6876661"/>
              <a:gd name="connsiteX4" fmla="*/ 0 w 4450701"/>
              <a:gd name="connsiteY4" fmla="*/ 6876661 h 6876661"/>
              <a:gd name="connsiteX0" fmla="*/ 0 w 4077477"/>
              <a:gd name="connsiteY0" fmla="*/ 6932645 h 6932645"/>
              <a:gd name="connsiteX1" fmla="*/ 3528732 w 4077477"/>
              <a:gd name="connsiteY1" fmla="*/ 74645 h 6932645"/>
              <a:gd name="connsiteX2" fmla="*/ 4077477 w 4077477"/>
              <a:gd name="connsiteY2" fmla="*/ 0 h 6932645"/>
              <a:gd name="connsiteX3" fmla="*/ 1033938 w 4077477"/>
              <a:gd name="connsiteY3" fmla="*/ 6867330 h 6932645"/>
              <a:gd name="connsiteX4" fmla="*/ 0 w 4077477"/>
              <a:gd name="connsiteY4" fmla="*/ 6932645 h 6932645"/>
              <a:gd name="connsiteX0" fmla="*/ 0 w 4077477"/>
              <a:gd name="connsiteY0" fmla="*/ 6932645 h 6951305"/>
              <a:gd name="connsiteX1" fmla="*/ 3528732 w 4077477"/>
              <a:gd name="connsiteY1" fmla="*/ 74645 h 6951305"/>
              <a:gd name="connsiteX2" fmla="*/ 4077477 w 4077477"/>
              <a:gd name="connsiteY2" fmla="*/ 0 h 6951305"/>
              <a:gd name="connsiteX3" fmla="*/ 968624 w 4077477"/>
              <a:gd name="connsiteY3" fmla="*/ 6951305 h 6951305"/>
              <a:gd name="connsiteX4" fmla="*/ 0 w 4077477"/>
              <a:gd name="connsiteY4" fmla="*/ 6932645 h 6951305"/>
              <a:gd name="connsiteX0" fmla="*/ 0 w 4077477"/>
              <a:gd name="connsiteY0" fmla="*/ 6932645 h 6951305"/>
              <a:gd name="connsiteX1" fmla="*/ 3528732 w 4077477"/>
              <a:gd name="connsiteY1" fmla="*/ 74645 h 6951305"/>
              <a:gd name="connsiteX2" fmla="*/ 4077477 w 4077477"/>
              <a:gd name="connsiteY2" fmla="*/ 0 h 6951305"/>
              <a:gd name="connsiteX3" fmla="*/ 968624 w 4077477"/>
              <a:gd name="connsiteY3" fmla="*/ 6951305 h 6951305"/>
              <a:gd name="connsiteX4" fmla="*/ 0 w 4077477"/>
              <a:gd name="connsiteY4" fmla="*/ 6932645 h 6951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7477" h="6951305">
                <a:moveTo>
                  <a:pt x="0" y="6932645"/>
                </a:moveTo>
                <a:cubicBezTo>
                  <a:pt x="3014374" y="3853543"/>
                  <a:pt x="831598" y="1828800"/>
                  <a:pt x="3528732" y="74645"/>
                </a:cubicBezTo>
                <a:lnTo>
                  <a:pt x="4077477" y="0"/>
                </a:lnTo>
                <a:cubicBezTo>
                  <a:pt x="1041332" y="1539551"/>
                  <a:pt x="3370288" y="3415003"/>
                  <a:pt x="968624" y="6951305"/>
                </a:cubicBezTo>
                <a:lnTo>
                  <a:pt x="0" y="6932645"/>
                </a:lnTo>
                <a:close/>
              </a:path>
            </a:pathLst>
          </a:custGeom>
          <a:gradFill flip="none" rotWithShape="1">
            <a:gsLst>
              <a:gs pos="0">
                <a:srgbClr val="6002F3"/>
              </a:gs>
              <a:gs pos="51000">
                <a:srgbClr val="E13C5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4" name="Parallelogram 3">
            <a:extLst>
              <a:ext uri="{FF2B5EF4-FFF2-40B4-BE49-F238E27FC236}">
                <a16:creationId xmlns:a16="http://schemas.microsoft.com/office/drawing/2014/main" id="{25EE4F64-030D-3038-DD71-360435D1EF42}"/>
              </a:ext>
            </a:extLst>
          </p:cNvPr>
          <p:cNvSpPr/>
          <p:nvPr userDrawn="1"/>
        </p:nvSpPr>
        <p:spPr>
          <a:xfrm>
            <a:off x="4772859" y="-74646"/>
            <a:ext cx="4077477" cy="6951305"/>
          </a:xfrm>
          <a:custGeom>
            <a:avLst/>
            <a:gdLst>
              <a:gd name="connsiteX0" fmla="*/ 0 w 5812971"/>
              <a:gd name="connsiteY0" fmla="*/ 6858000 h 6858000"/>
              <a:gd name="connsiteX1" fmla="*/ 1522650 w 5812971"/>
              <a:gd name="connsiteY1" fmla="*/ 0 h 6858000"/>
              <a:gd name="connsiteX2" fmla="*/ 5812971 w 5812971"/>
              <a:gd name="connsiteY2" fmla="*/ 0 h 6858000"/>
              <a:gd name="connsiteX3" fmla="*/ 4290321 w 5812971"/>
              <a:gd name="connsiteY3" fmla="*/ 6858000 h 6858000"/>
              <a:gd name="connsiteX4" fmla="*/ 0 w 5812971"/>
              <a:gd name="connsiteY4" fmla="*/ 6858000 h 6858000"/>
              <a:gd name="connsiteX0" fmla="*/ 0 w 5812971"/>
              <a:gd name="connsiteY0" fmla="*/ 6858000 h 6858000"/>
              <a:gd name="connsiteX1" fmla="*/ 3528732 w 5812971"/>
              <a:gd name="connsiteY1" fmla="*/ 0 h 6858000"/>
              <a:gd name="connsiteX2" fmla="*/ 5812971 w 5812971"/>
              <a:gd name="connsiteY2" fmla="*/ 0 h 6858000"/>
              <a:gd name="connsiteX3" fmla="*/ 4290321 w 5812971"/>
              <a:gd name="connsiteY3" fmla="*/ 6858000 h 6858000"/>
              <a:gd name="connsiteX4" fmla="*/ 0 w 5812971"/>
              <a:gd name="connsiteY4" fmla="*/ 6858000 h 6858000"/>
              <a:gd name="connsiteX0" fmla="*/ 0 w 5812971"/>
              <a:gd name="connsiteY0" fmla="*/ 6858000 h 6858000"/>
              <a:gd name="connsiteX1" fmla="*/ 3528732 w 5812971"/>
              <a:gd name="connsiteY1" fmla="*/ 0 h 6858000"/>
              <a:gd name="connsiteX2" fmla="*/ 5812971 w 5812971"/>
              <a:gd name="connsiteY2" fmla="*/ 0 h 6858000"/>
              <a:gd name="connsiteX3" fmla="*/ 4290321 w 5812971"/>
              <a:gd name="connsiteY3" fmla="*/ 6858000 h 6858000"/>
              <a:gd name="connsiteX4" fmla="*/ 0 w 5812971"/>
              <a:gd name="connsiteY4" fmla="*/ 6858000 h 6858000"/>
              <a:gd name="connsiteX0" fmla="*/ 0 w 5812971"/>
              <a:gd name="connsiteY0" fmla="*/ 6858000 h 6858000"/>
              <a:gd name="connsiteX1" fmla="*/ 3528732 w 5812971"/>
              <a:gd name="connsiteY1" fmla="*/ 0 h 6858000"/>
              <a:gd name="connsiteX2" fmla="*/ 5812971 w 5812971"/>
              <a:gd name="connsiteY2" fmla="*/ 0 h 6858000"/>
              <a:gd name="connsiteX3" fmla="*/ 4290321 w 5812971"/>
              <a:gd name="connsiteY3" fmla="*/ 6858000 h 6858000"/>
              <a:gd name="connsiteX4" fmla="*/ 0 w 5812971"/>
              <a:gd name="connsiteY4" fmla="*/ 6858000 h 6858000"/>
              <a:gd name="connsiteX0" fmla="*/ 0 w 5812971"/>
              <a:gd name="connsiteY0" fmla="*/ 6858000 h 6858000"/>
              <a:gd name="connsiteX1" fmla="*/ 3528732 w 5812971"/>
              <a:gd name="connsiteY1" fmla="*/ 0 h 6858000"/>
              <a:gd name="connsiteX2" fmla="*/ 5812971 w 5812971"/>
              <a:gd name="connsiteY2" fmla="*/ 0 h 6858000"/>
              <a:gd name="connsiteX3" fmla="*/ 4290321 w 5812971"/>
              <a:gd name="connsiteY3" fmla="*/ 6858000 h 6858000"/>
              <a:gd name="connsiteX4" fmla="*/ 0 w 5812971"/>
              <a:gd name="connsiteY4" fmla="*/ 6858000 h 6858000"/>
              <a:gd name="connsiteX0" fmla="*/ 0 w 5812971"/>
              <a:gd name="connsiteY0" fmla="*/ 6858000 h 6858000"/>
              <a:gd name="connsiteX1" fmla="*/ 3528732 w 5812971"/>
              <a:gd name="connsiteY1" fmla="*/ 0 h 6858000"/>
              <a:gd name="connsiteX2" fmla="*/ 5812971 w 5812971"/>
              <a:gd name="connsiteY2" fmla="*/ 0 h 6858000"/>
              <a:gd name="connsiteX3" fmla="*/ 4290321 w 5812971"/>
              <a:gd name="connsiteY3" fmla="*/ 6858000 h 6858000"/>
              <a:gd name="connsiteX4" fmla="*/ 0 w 5812971"/>
              <a:gd name="connsiteY4" fmla="*/ 6858000 h 6858000"/>
              <a:gd name="connsiteX0" fmla="*/ 0 w 5812971"/>
              <a:gd name="connsiteY0" fmla="*/ 6858000 h 6858000"/>
              <a:gd name="connsiteX1" fmla="*/ 3528732 w 5812971"/>
              <a:gd name="connsiteY1" fmla="*/ 0 h 6858000"/>
              <a:gd name="connsiteX2" fmla="*/ 5812971 w 5812971"/>
              <a:gd name="connsiteY2" fmla="*/ 0 h 6858000"/>
              <a:gd name="connsiteX3" fmla="*/ 2368215 w 5812971"/>
              <a:gd name="connsiteY3" fmla="*/ 6774024 h 6858000"/>
              <a:gd name="connsiteX4" fmla="*/ 0 w 5812971"/>
              <a:gd name="connsiteY4" fmla="*/ 6858000 h 6858000"/>
              <a:gd name="connsiteX0" fmla="*/ 0 w 4413379"/>
              <a:gd name="connsiteY0" fmla="*/ 6858000 h 6858000"/>
              <a:gd name="connsiteX1" fmla="*/ 3528732 w 4413379"/>
              <a:gd name="connsiteY1" fmla="*/ 0 h 6858000"/>
              <a:gd name="connsiteX2" fmla="*/ 4413379 w 4413379"/>
              <a:gd name="connsiteY2" fmla="*/ 27992 h 6858000"/>
              <a:gd name="connsiteX3" fmla="*/ 2368215 w 4413379"/>
              <a:gd name="connsiteY3" fmla="*/ 6774024 h 6858000"/>
              <a:gd name="connsiteX4" fmla="*/ 0 w 4413379"/>
              <a:gd name="connsiteY4" fmla="*/ 6858000 h 6858000"/>
              <a:gd name="connsiteX0" fmla="*/ 0 w 4413379"/>
              <a:gd name="connsiteY0" fmla="*/ 6858000 h 6867330"/>
              <a:gd name="connsiteX1" fmla="*/ 3528732 w 4413379"/>
              <a:gd name="connsiteY1" fmla="*/ 0 h 6867330"/>
              <a:gd name="connsiteX2" fmla="*/ 4413379 w 4413379"/>
              <a:gd name="connsiteY2" fmla="*/ 27992 h 6867330"/>
              <a:gd name="connsiteX3" fmla="*/ 2358885 w 4413379"/>
              <a:gd name="connsiteY3" fmla="*/ 6867330 h 6867330"/>
              <a:gd name="connsiteX4" fmla="*/ 0 w 4413379"/>
              <a:gd name="connsiteY4" fmla="*/ 6858000 h 6867330"/>
              <a:gd name="connsiteX0" fmla="*/ 0 w 4450701"/>
              <a:gd name="connsiteY0" fmla="*/ 6876661 h 6885991"/>
              <a:gd name="connsiteX1" fmla="*/ 3528732 w 4450701"/>
              <a:gd name="connsiteY1" fmla="*/ 18661 h 6885991"/>
              <a:gd name="connsiteX2" fmla="*/ 4450701 w 4450701"/>
              <a:gd name="connsiteY2" fmla="*/ 0 h 6885991"/>
              <a:gd name="connsiteX3" fmla="*/ 2358885 w 4450701"/>
              <a:gd name="connsiteY3" fmla="*/ 6885991 h 6885991"/>
              <a:gd name="connsiteX4" fmla="*/ 0 w 4450701"/>
              <a:gd name="connsiteY4" fmla="*/ 6876661 h 6885991"/>
              <a:gd name="connsiteX0" fmla="*/ 0 w 4450701"/>
              <a:gd name="connsiteY0" fmla="*/ 6876661 h 6885991"/>
              <a:gd name="connsiteX1" fmla="*/ 3528732 w 4450701"/>
              <a:gd name="connsiteY1" fmla="*/ 18661 h 6885991"/>
              <a:gd name="connsiteX2" fmla="*/ 4450701 w 4450701"/>
              <a:gd name="connsiteY2" fmla="*/ 0 h 6885991"/>
              <a:gd name="connsiteX3" fmla="*/ 2358885 w 4450701"/>
              <a:gd name="connsiteY3" fmla="*/ 6885991 h 6885991"/>
              <a:gd name="connsiteX4" fmla="*/ 0 w 4450701"/>
              <a:gd name="connsiteY4" fmla="*/ 6876661 h 6885991"/>
              <a:gd name="connsiteX0" fmla="*/ 0 w 4450701"/>
              <a:gd name="connsiteY0" fmla="*/ 6876661 h 6885991"/>
              <a:gd name="connsiteX1" fmla="*/ 3528732 w 4450701"/>
              <a:gd name="connsiteY1" fmla="*/ 18661 h 6885991"/>
              <a:gd name="connsiteX2" fmla="*/ 4450701 w 4450701"/>
              <a:gd name="connsiteY2" fmla="*/ 0 h 6885991"/>
              <a:gd name="connsiteX3" fmla="*/ 2358885 w 4450701"/>
              <a:gd name="connsiteY3" fmla="*/ 6885991 h 6885991"/>
              <a:gd name="connsiteX4" fmla="*/ 0 w 4450701"/>
              <a:gd name="connsiteY4" fmla="*/ 6876661 h 6885991"/>
              <a:gd name="connsiteX0" fmla="*/ 0 w 4450701"/>
              <a:gd name="connsiteY0" fmla="*/ 6876661 h 6885991"/>
              <a:gd name="connsiteX1" fmla="*/ 3528732 w 4450701"/>
              <a:gd name="connsiteY1" fmla="*/ 18661 h 6885991"/>
              <a:gd name="connsiteX2" fmla="*/ 4450701 w 4450701"/>
              <a:gd name="connsiteY2" fmla="*/ 0 h 6885991"/>
              <a:gd name="connsiteX3" fmla="*/ 2358885 w 4450701"/>
              <a:gd name="connsiteY3" fmla="*/ 6885991 h 6885991"/>
              <a:gd name="connsiteX4" fmla="*/ 0 w 4450701"/>
              <a:gd name="connsiteY4" fmla="*/ 6876661 h 6885991"/>
              <a:gd name="connsiteX0" fmla="*/ 0 w 4450701"/>
              <a:gd name="connsiteY0" fmla="*/ 6876661 h 6885991"/>
              <a:gd name="connsiteX1" fmla="*/ 3528732 w 4450701"/>
              <a:gd name="connsiteY1" fmla="*/ 18661 h 6885991"/>
              <a:gd name="connsiteX2" fmla="*/ 4450701 w 4450701"/>
              <a:gd name="connsiteY2" fmla="*/ 0 h 6885991"/>
              <a:gd name="connsiteX3" fmla="*/ 2358885 w 4450701"/>
              <a:gd name="connsiteY3" fmla="*/ 6885991 h 6885991"/>
              <a:gd name="connsiteX4" fmla="*/ 0 w 4450701"/>
              <a:gd name="connsiteY4" fmla="*/ 6876661 h 6885991"/>
              <a:gd name="connsiteX0" fmla="*/ 0 w 4450701"/>
              <a:gd name="connsiteY0" fmla="*/ 6876661 h 6885991"/>
              <a:gd name="connsiteX1" fmla="*/ 3528732 w 4450701"/>
              <a:gd name="connsiteY1" fmla="*/ 18661 h 6885991"/>
              <a:gd name="connsiteX2" fmla="*/ 4450701 w 4450701"/>
              <a:gd name="connsiteY2" fmla="*/ 0 h 6885991"/>
              <a:gd name="connsiteX3" fmla="*/ 2358885 w 4450701"/>
              <a:gd name="connsiteY3" fmla="*/ 6885991 h 6885991"/>
              <a:gd name="connsiteX4" fmla="*/ 0 w 4450701"/>
              <a:gd name="connsiteY4" fmla="*/ 6876661 h 6885991"/>
              <a:gd name="connsiteX0" fmla="*/ 0 w 4450701"/>
              <a:gd name="connsiteY0" fmla="*/ 6876661 h 6876661"/>
              <a:gd name="connsiteX1" fmla="*/ 3528732 w 4450701"/>
              <a:gd name="connsiteY1" fmla="*/ 18661 h 6876661"/>
              <a:gd name="connsiteX2" fmla="*/ 4450701 w 4450701"/>
              <a:gd name="connsiteY2" fmla="*/ 0 h 6876661"/>
              <a:gd name="connsiteX3" fmla="*/ 1033938 w 4450701"/>
              <a:gd name="connsiteY3" fmla="*/ 6811346 h 6876661"/>
              <a:gd name="connsiteX4" fmla="*/ 0 w 4450701"/>
              <a:gd name="connsiteY4" fmla="*/ 6876661 h 6876661"/>
              <a:gd name="connsiteX0" fmla="*/ 0 w 4077477"/>
              <a:gd name="connsiteY0" fmla="*/ 6932645 h 6932645"/>
              <a:gd name="connsiteX1" fmla="*/ 3528732 w 4077477"/>
              <a:gd name="connsiteY1" fmla="*/ 74645 h 6932645"/>
              <a:gd name="connsiteX2" fmla="*/ 4077477 w 4077477"/>
              <a:gd name="connsiteY2" fmla="*/ 0 h 6932645"/>
              <a:gd name="connsiteX3" fmla="*/ 1033938 w 4077477"/>
              <a:gd name="connsiteY3" fmla="*/ 6867330 h 6932645"/>
              <a:gd name="connsiteX4" fmla="*/ 0 w 4077477"/>
              <a:gd name="connsiteY4" fmla="*/ 6932645 h 6932645"/>
              <a:gd name="connsiteX0" fmla="*/ 0 w 4077477"/>
              <a:gd name="connsiteY0" fmla="*/ 6932645 h 6951305"/>
              <a:gd name="connsiteX1" fmla="*/ 3528732 w 4077477"/>
              <a:gd name="connsiteY1" fmla="*/ 74645 h 6951305"/>
              <a:gd name="connsiteX2" fmla="*/ 4077477 w 4077477"/>
              <a:gd name="connsiteY2" fmla="*/ 0 h 6951305"/>
              <a:gd name="connsiteX3" fmla="*/ 968624 w 4077477"/>
              <a:gd name="connsiteY3" fmla="*/ 6951305 h 6951305"/>
              <a:gd name="connsiteX4" fmla="*/ 0 w 4077477"/>
              <a:gd name="connsiteY4" fmla="*/ 6932645 h 6951305"/>
              <a:gd name="connsiteX0" fmla="*/ 0 w 4077477"/>
              <a:gd name="connsiteY0" fmla="*/ 6932645 h 6951305"/>
              <a:gd name="connsiteX1" fmla="*/ 3528732 w 4077477"/>
              <a:gd name="connsiteY1" fmla="*/ 74645 h 6951305"/>
              <a:gd name="connsiteX2" fmla="*/ 4077477 w 4077477"/>
              <a:gd name="connsiteY2" fmla="*/ 0 h 6951305"/>
              <a:gd name="connsiteX3" fmla="*/ 968624 w 4077477"/>
              <a:gd name="connsiteY3" fmla="*/ 6951305 h 6951305"/>
              <a:gd name="connsiteX4" fmla="*/ 0 w 4077477"/>
              <a:gd name="connsiteY4" fmla="*/ 6932645 h 6951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7477" h="6951305">
                <a:moveTo>
                  <a:pt x="0" y="6932645"/>
                </a:moveTo>
                <a:cubicBezTo>
                  <a:pt x="3014374" y="3853543"/>
                  <a:pt x="831598" y="1828800"/>
                  <a:pt x="3528732" y="74645"/>
                </a:cubicBezTo>
                <a:lnTo>
                  <a:pt x="4077477" y="0"/>
                </a:lnTo>
                <a:cubicBezTo>
                  <a:pt x="1041332" y="1539551"/>
                  <a:pt x="3370288" y="3415003"/>
                  <a:pt x="968624" y="6951305"/>
                </a:cubicBezTo>
                <a:lnTo>
                  <a:pt x="0" y="6932645"/>
                </a:lnTo>
                <a:close/>
              </a:path>
            </a:pathLst>
          </a:custGeom>
          <a:gradFill flip="none" rotWithShape="1">
            <a:gsLst>
              <a:gs pos="0">
                <a:srgbClr val="6002F3"/>
              </a:gs>
              <a:gs pos="51000">
                <a:srgbClr val="E13C5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cxnSp>
        <p:nvCxnSpPr>
          <p:cNvPr id="9" name="Conector recto 8">
            <a:extLst>
              <a:ext uri="{FF2B5EF4-FFF2-40B4-BE49-F238E27FC236}">
                <a16:creationId xmlns:a16="http://schemas.microsoft.com/office/drawing/2014/main" id="{4F5F6E38-71CA-BEFD-2BE9-483D8DD08175}"/>
              </a:ext>
            </a:extLst>
          </p:cNvPr>
          <p:cNvCxnSpPr>
            <a:cxnSpLocks/>
          </p:cNvCxnSpPr>
          <p:nvPr userDrawn="1"/>
        </p:nvCxnSpPr>
        <p:spPr>
          <a:xfrm>
            <a:off x="3348744" y="2452454"/>
            <a:ext cx="3171119" cy="0"/>
          </a:xfrm>
          <a:prstGeom prst="line">
            <a:avLst/>
          </a:prstGeom>
          <a:ln w="19050">
            <a:solidFill>
              <a:srgbClr val="E33C5B"/>
            </a:solidFill>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745D8CE-DC32-F15E-395E-D3A9A0B37732}"/>
              </a:ext>
            </a:extLst>
          </p:cNvPr>
          <p:cNvSpPr>
            <a:spLocks noGrp="1"/>
          </p:cNvSpPr>
          <p:nvPr>
            <p:ph type="pic" sz="quarter" idx="13" hasCustomPrompt="1"/>
          </p:nvPr>
        </p:nvSpPr>
        <p:spPr>
          <a:xfrm>
            <a:off x="6519863" y="1266825"/>
            <a:ext cx="4977003" cy="4750411"/>
          </a:xfrm>
          <a:prstGeom prst="rect">
            <a:avLst/>
          </a:prstGeom>
        </p:spPr>
        <p:txBody>
          <a:bodyPr/>
          <a:lstStyle>
            <a:lvl1pPr marL="0" indent="0">
              <a:buNone/>
              <a:defRPr sz="1200">
                <a:solidFill>
                  <a:schemeClr val="tx1">
                    <a:lumMod val="50000"/>
                    <a:lumOff val="50000"/>
                  </a:schemeClr>
                </a:solidFill>
              </a:defRPr>
            </a:lvl1pPr>
          </a:lstStyle>
          <a:p>
            <a:r>
              <a:rPr lang="en-US" dirty="0"/>
              <a:t>Image placeholder</a:t>
            </a:r>
            <a:endParaRPr lang="en-ID" dirty="0"/>
          </a:p>
        </p:txBody>
      </p:sp>
      <p:sp>
        <p:nvSpPr>
          <p:cNvPr id="13" name="Marcador de texto 12">
            <a:extLst>
              <a:ext uri="{FF2B5EF4-FFF2-40B4-BE49-F238E27FC236}">
                <a16:creationId xmlns:a16="http://schemas.microsoft.com/office/drawing/2014/main" id="{B020805D-1FA7-4A17-023C-F22F589FF422}"/>
              </a:ext>
            </a:extLst>
          </p:cNvPr>
          <p:cNvSpPr>
            <a:spLocks noGrp="1"/>
          </p:cNvSpPr>
          <p:nvPr>
            <p:ph type="body" sz="quarter" idx="14"/>
          </p:nvPr>
        </p:nvSpPr>
        <p:spPr>
          <a:xfrm>
            <a:off x="766763" y="2908097"/>
            <a:ext cx="4427537" cy="3058184"/>
          </a:xfrm>
          <a:prstGeom prst="rect">
            <a:avLst/>
          </a:prstGeom>
        </p:spPr>
        <p:txBody>
          <a:bodyPr/>
          <a:lstStyle>
            <a:lvl1pPr marL="0" indent="0">
              <a:buNone/>
              <a:defRPr sz="1200">
                <a:solidFill>
                  <a:schemeClr val="tx1">
                    <a:lumMod val="65000"/>
                    <a:lumOff val="35000"/>
                  </a:schemeClr>
                </a:solidFill>
                <a:latin typeface="Poppins" panose="00000500000000000000" pitchFamily="2" charset="0"/>
                <a:cs typeface="Poppins" panose="00000500000000000000" pitchFamily="2" charset="0"/>
              </a:defRPr>
            </a:lvl1pPr>
          </a:lstStyle>
          <a:p>
            <a:pPr lvl="0"/>
            <a:endParaRPr lang="es-MX" dirty="0"/>
          </a:p>
        </p:txBody>
      </p:sp>
      <p:sp>
        <p:nvSpPr>
          <p:cNvPr id="15" name="Marcador de texto 14">
            <a:extLst>
              <a:ext uri="{FF2B5EF4-FFF2-40B4-BE49-F238E27FC236}">
                <a16:creationId xmlns:a16="http://schemas.microsoft.com/office/drawing/2014/main" id="{FC81210D-4F40-1D40-EAC3-189F00ECF5F8}"/>
              </a:ext>
            </a:extLst>
          </p:cNvPr>
          <p:cNvSpPr>
            <a:spLocks noGrp="1"/>
          </p:cNvSpPr>
          <p:nvPr>
            <p:ph type="body" sz="quarter" idx="15" hasCustomPrompt="1"/>
          </p:nvPr>
        </p:nvSpPr>
        <p:spPr>
          <a:xfrm>
            <a:off x="766763" y="2168322"/>
            <a:ext cx="2465964" cy="568263"/>
          </a:xfrm>
          <a:prstGeom prst="rect">
            <a:avLst/>
          </a:prstGeom>
        </p:spPr>
        <p:txBody>
          <a:bodyPr/>
          <a:lstStyle>
            <a:lvl1pPr marL="0" indent="0">
              <a:buNone/>
              <a:defRPr sz="3400" b="1">
                <a:solidFill>
                  <a:srgbClr val="014B7F"/>
                </a:solidFill>
                <a:latin typeface="Poppins" panose="00000500000000000000" pitchFamily="2" charset="0"/>
                <a:cs typeface="Poppins" panose="00000500000000000000" pitchFamily="2" charset="0"/>
              </a:defRPr>
            </a:lvl1pPr>
          </a:lstStyle>
          <a:p>
            <a:pPr lvl="0"/>
            <a:r>
              <a:rPr lang="es-MX" dirty="0"/>
              <a:t>TÍTULO</a:t>
            </a:r>
          </a:p>
        </p:txBody>
      </p:sp>
      <p:pic>
        <p:nvPicPr>
          <p:cNvPr id="5" name="Gráfico 4">
            <a:extLst>
              <a:ext uri="{FF2B5EF4-FFF2-40B4-BE49-F238E27FC236}">
                <a16:creationId xmlns:a16="http://schemas.microsoft.com/office/drawing/2014/main" id="{E72A612E-FDFD-CD95-DCC7-005C0052B40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33375" y="5971022"/>
            <a:ext cx="1697312" cy="789447"/>
          </a:xfrm>
          <a:prstGeom prst="rect">
            <a:avLst/>
          </a:prstGeom>
        </p:spPr>
      </p:pic>
    </p:spTree>
    <p:extLst>
      <p:ext uri="{BB962C8B-B14F-4D97-AF65-F5344CB8AC3E}">
        <p14:creationId xmlns:p14="http://schemas.microsoft.com/office/powerpoint/2010/main" val="35078020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Gráficos">
    <p:spTree>
      <p:nvGrpSpPr>
        <p:cNvPr id="1" name=""/>
        <p:cNvGrpSpPr/>
        <p:nvPr/>
      </p:nvGrpSpPr>
      <p:grpSpPr>
        <a:xfrm>
          <a:off x="0" y="0"/>
          <a:ext cx="0" cy="0"/>
          <a:chOff x="0" y="0"/>
          <a:chExt cx="0" cy="0"/>
        </a:xfrm>
      </p:grpSpPr>
      <p:sp>
        <p:nvSpPr>
          <p:cNvPr id="2" name="Parallelogram 3">
            <a:extLst>
              <a:ext uri="{FF2B5EF4-FFF2-40B4-BE49-F238E27FC236}">
                <a16:creationId xmlns:a16="http://schemas.microsoft.com/office/drawing/2014/main" id="{FFDE676A-E68C-EE29-7FAC-5F5844311192}"/>
              </a:ext>
            </a:extLst>
          </p:cNvPr>
          <p:cNvSpPr/>
          <p:nvPr userDrawn="1"/>
        </p:nvSpPr>
        <p:spPr>
          <a:xfrm>
            <a:off x="8888480" y="-74646"/>
            <a:ext cx="4077477" cy="6951305"/>
          </a:xfrm>
          <a:custGeom>
            <a:avLst/>
            <a:gdLst>
              <a:gd name="connsiteX0" fmla="*/ 0 w 5812971"/>
              <a:gd name="connsiteY0" fmla="*/ 6858000 h 6858000"/>
              <a:gd name="connsiteX1" fmla="*/ 1522650 w 5812971"/>
              <a:gd name="connsiteY1" fmla="*/ 0 h 6858000"/>
              <a:gd name="connsiteX2" fmla="*/ 5812971 w 5812971"/>
              <a:gd name="connsiteY2" fmla="*/ 0 h 6858000"/>
              <a:gd name="connsiteX3" fmla="*/ 4290321 w 5812971"/>
              <a:gd name="connsiteY3" fmla="*/ 6858000 h 6858000"/>
              <a:gd name="connsiteX4" fmla="*/ 0 w 5812971"/>
              <a:gd name="connsiteY4" fmla="*/ 6858000 h 6858000"/>
              <a:gd name="connsiteX0" fmla="*/ 0 w 5812971"/>
              <a:gd name="connsiteY0" fmla="*/ 6858000 h 6858000"/>
              <a:gd name="connsiteX1" fmla="*/ 3528732 w 5812971"/>
              <a:gd name="connsiteY1" fmla="*/ 0 h 6858000"/>
              <a:gd name="connsiteX2" fmla="*/ 5812971 w 5812971"/>
              <a:gd name="connsiteY2" fmla="*/ 0 h 6858000"/>
              <a:gd name="connsiteX3" fmla="*/ 4290321 w 5812971"/>
              <a:gd name="connsiteY3" fmla="*/ 6858000 h 6858000"/>
              <a:gd name="connsiteX4" fmla="*/ 0 w 5812971"/>
              <a:gd name="connsiteY4" fmla="*/ 6858000 h 6858000"/>
              <a:gd name="connsiteX0" fmla="*/ 0 w 5812971"/>
              <a:gd name="connsiteY0" fmla="*/ 6858000 h 6858000"/>
              <a:gd name="connsiteX1" fmla="*/ 3528732 w 5812971"/>
              <a:gd name="connsiteY1" fmla="*/ 0 h 6858000"/>
              <a:gd name="connsiteX2" fmla="*/ 5812971 w 5812971"/>
              <a:gd name="connsiteY2" fmla="*/ 0 h 6858000"/>
              <a:gd name="connsiteX3" fmla="*/ 4290321 w 5812971"/>
              <a:gd name="connsiteY3" fmla="*/ 6858000 h 6858000"/>
              <a:gd name="connsiteX4" fmla="*/ 0 w 5812971"/>
              <a:gd name="connsiteY4" fmla="*/ 6858000 h 6858000"/>
              <a:gd name="connsiteX0" fmla="*/ 0 w 5812971"/>
              <a:gd name="connsiteY0" fmla="*/ 6858000 h 6858000"/>
              <a:gd name="connsiteX1" fmla="*/ 3528732 w 5812971"/>
              <a:gd name="connsiteY1" fmla="*/ 0 h 6858000"/>
              <a:gd name="connsiteX2" fmla="*/ 5812971 w 5812971"/>
              <a:gd name="connsiteY2" fmla="*/ 0 h 6858000"/>
              <a:gd name="connsiteX3" fmla="*/ 4290321 w 5812971"/>
              <a:gd name="connsiteY3" fmla="*/ 6858000 h 6858000"/>
              <a:gd name="connsiteX4" fmla="*/ 0 w 5812971"/>
              <a:gd name="connsiteY4" fmla="*/ 6858000 h 6858000"/>
              <a:gd name="connsiteX0" fmla="*/ 0 w 5812971"/>
              <a:gd name="connsiteY0" fmla="*/ 6858000 h 6858000"/>
              <a:gd name="connsiteX1" fmla="*/ 3528732 w 5812971"/>
              <a:gd name="connsiteY1" fmla="*/ 0 h 6858000"/>
              <a:gd name="connsiteX2" fmla="*/ 5812971 w 5812971"/>
              <a:gd name="connsiteY2" fmla="*/ 0 h 6858000"/>
              <a:gd name="connsiteX3" fmla="*/ 4290321 w 5812971"/>
              <a:gd name="connsiteY3" fmla="*/ 6858000 h 6858000"/>
              <a:gd name="connsiteX4" fmla="*/ 0 w 5812971"/>
              <a:gd name="connsiteY4" fmla="*/ 6858000 h 6858000"/>
              <a:gd name="connsiteX0" fmla="*/ 0 w 5812971"/>
              <a:gd name="connsiteY0" fmla="*/ 6858000 h 6858000"/>
              <a:gd name="connsiteX1" fmla="*/ 3528732 w 5812971"/>
              <a:gd name="connsiteY1" fmla="*/ 0 h 6858000"/>
              <a:gd name="connsiteX2" fmla="*/ 5812971 w 5812971"/>
              <a:gd name="connsiteY2" fmla="*/ 0 h 6858000"/>
              <a:gd name="connsiteX3" fmla="*/ 4290321 w 5812971"/>
              <a:gd name="connsiteY3" fmla="*/ 6858000 h 6858000"/>
              <a:gd name="connsiteX4" fmla="*/ 0 w 5812971"/>
              <a:gd name="connsiteY4" fmla="*/ 6858000 h 6858000"/>
              <a:gd name="connsiteX0" fmla="*/ 0 w 5812971"/>
              <a:gd name="connsiteY0" fmla="*/ 6858000 h 6858000"/>
              <a:gd name="connsiteX1" fmla="*/ 3528732 w 5812971"/>
              <a:gd name="connsiteY1" fmla="*/ 0 h 6858000"/>
              <a:gd name="connsiteX2" fmla="*/ 5812971 w 5812971"/>
              <a:gd name="connsiteY2" fmla="*/ 0 h 6858000"/>
              <a:gd name="connsiteX3" fmla="*/ 2368215 w 5812971"/>
              <a:gd name="connsiteY3" fmla="*/ 6774024 h 6858000"/>
              <a:gd name="connsiteX4" fmla="*/ 0 w 5812971"/>
              <a:gd name="connsiteY4" fmla="*/ 6858000 h 6858000"/>
              <a:gd name="connsiteX0" fmla="*/ 0 w 4413379"/>
              <a:gd name="connsiteY0" fmla="*/ 6858000 h 6858000"/>
              <a:gd name="connsiteX1" fmla="*/ 3528732 w 4413379"/>
              <a:gd name="connsiteY1" fmla="*/ 0 h 6858000"/>
              <a:gd name="connsiteX2" fmla="*/ 4413379 w 4413379"/>
              <a:gd name="connsiteY2" fmla="*/ 27992 h 6858000"/>
              <a:gd name="connsiteX3" fmla="*/ 2368215 w 4413379"/>
              <a:gd name="connsiteY3" fmla="*/ 6774024 h 6858000"/>
              <a:gd name="connsiteX4" fmla="*/ 0 w 4413379"/>
              <a:gd name="connsiteY4" fmla="*/ 6858000 h 6858000"/>
              <a:gd name="connsiteX0" fmla="*/ 0 w 4413379"/>
              <a:gd name="connsiteY0" fmla="*/ 6858000 h 6867330"/>
              <a:gd name="connsiteX1" fmla="*/ 3528732 w 4413379"/>
              <a:gd name="connsiteY1" fmla="*/ 0 h 6867330"/>
              <a:gd name="connsiteX2" fmla="*/ 4413379 w 4413379"/>
              <a:gd name="connsiteY2" fmla="*/ 27992 h 6867330"/>
              <a:gd name="connsiteX3" fmla="*/ 2358885 w 4413379"/>
              <a:gd name="connsiteY3" fmla="*/ 6867330 h 6867330"/>
              <a:gd name="connsiteX4" fmla="*/ 0 w 4413379"/>
              <a:gd name="connsiteY4" fmla="*/ 6858000 h 6867330"/>
              <a:gd name="connsiteX0" fmla="*/ 0 w 4450701"/>
              <a:gd name="connsiteY0" fmla="*/ 6876661 h 6885991"/>
              <a:gd name="connsiteX1" fmla="*/ 3528732 w 4450701"/>
              <a:gd name="connsiteY1" fmla="*/ 18661 h 6885991"/>
              <a:gd name="connsiteX2" fmla="*/ 4450701 w 4450701"/>
              <a:gd name="connsiteY2" fmla="*/ 0 h 6885991"/>
              <a:gd name="connsiteX3" fmla="*/ 2358885 w 4450701"/>
              <a:gd name="connsiteY3" fmla="*/ 6885991 h 6885991"/>
              <a:gd name="connsiteX4" fmla="*/ 0 w 4450701"/>
              <a:gd name="connsiteY4" fmla="*/ 6876661 h 6885991"/>
              <a:gd name="connsiteX0" fmla="*/ 0 w 4450701"/>
              <a:gd name="connsiteY0" fmla="*/ 6876661 h 6885991"/>
              <a:gd name="connsiteX1" fmla="*/ 3528732 w 4450701"/>
              <a:gd name="connsiteY1" fmla="*/ 18661 h 6885991"/>
              <a:gd name="connsiteX2" fmla="*/ 4450701 w 4450701"/>
              <a:gd name="connsiteY2" fmla="*/ 0 h 6885991"/>
              <a:gd name="connsiteX3" fmla="*/ 2358885 w 4450701"/>
              <a:gd name="connsiteY3" fmla="*/ 6885991 h 6885991"/>
              <a:gd name="connsiteX4" fmla="*/ 0 w 4450701"/>
              <a:gd name="connsiteY4" fmla="*/ 6876661 h 6885991"/>
              <a:gd name="connsiteX0" fmla="*/ 0 w 4450701"/>
              <a:gd name="connsiteY0" fmla="*/ 6876661 h 6885991"/>
              <a:gd name="connsiteX1" fmla="*/ 3528732 w 4450701"/>
              <a:gd name="connsiteY1" fmla="*/ 18661 h 6885991"/>
              <a:gd name="connsiteX2" fmla="*/ 4450701 w 4450701"/>
              <a:gd name="connsiteY2" fmla="*/ 0 h 6885991"/>
              <a:gd name="connsiteX3" fmla="*/ 2358885 w 4450701"/>
              <a:gd name="connsiteY3" fmla="*/ 6885991 h 6885991"/>
              <a:gd name="connsiteX4" fmla="*/ 0 w 4450701"/>
              <a:gd name="connsiteY4" fmla="*/ 6876661 h 6885991"/>
              <a:gd name="connsiteX0" fmla="*/ 0 w 4450701"/>
              <a:gd name="connsiteY0" fmla="*/ 6876661 h 6885991"/>
              <a:gd name="connsiteX1" fmla="*/ 3528732 w 4450701"/>
              <a:gd name="connsiteY1" fmla="*/ 18661 h 6885991"/>
              <a:gd name="connsiteX2" fmla="*/ 4450701 w 4450701"/>
              <a:gd name="connsiteY2" fmla="*/ 0 h 6885991"/>
              <a:gd name="connsiteX3" fmla="*/ 2358885 w 4450701"/>
              <a:gd name="connsiteY3" fmla="*/ 6885991 h 6885991"/>
              <a:gd name="connsiteX4" fmla="*/ 0 w 4450701"/>
              <a:gd name="connsiteY4" fmla="*/ 6876661 h 6885991"/>
              <a:gd name="connsiteX0" fmla="*/ 0 w 4450701"/>
              <a:gd name="connsiteY0" fmla="*/ 6876661 h 6885991"/>
              <a:gd name="connsiteX1" fmla="*/ 3528732 w 4450701"/>
              <a:gd name="connsiteY1" fmla="*/ 18661 h 6885991"/>
              <a:gd name="connsiteX2" fmla="*/ 4450701 w 4450701"/>
              <a:gd name="connsiteY2" fmla="*/ 0 h 6885991"/>
              <a:gd name="connsiteX3" fmla="*/ 2358885 w 4450701"/>
              <a:gd name="connsiteY3" fmla="*/ 6885991 h 6885991"/>
              <a:gd name="connsiteX4" fmla="*/ 0 w 4450701"/>
              <a:gd name="connsiteY4" fmla="*/ 6876661 h 6885991"/>
              <a:gd name="connsiteX0" fmla="*/ 0 w 4450701"/>
              <a:gd name="connsiteY0" fmla="*/ 6876661 h 6885991"/>
              <a:gd name="connsiteX1" fmla="*/ 3528732 w 4450701"/>
              <a:gd name="connsiteY1" fmla="*/ 18661 h 6885991"/>
              <a:gd name="connsiteX2" fmla="*/ 4450701 w 4450701"/>
              <a:gd name="connsiteY2" fmla="*/ 0 h 6885991"/>
              <a:gd name="connsiteX3" fmla="*/ 2358885 w 4450701"/>
              <a:gd name="connsiteY3" fmla="*/ 6885991 h 6885991"/>
              <a:gd name="connsiteX4" fmla="*/ 0 w 4450701"/>
              <a:gd name="connsiteY4" fmla="*/ 6876661 h 6885991"/>
              <a:gd name="connsiteX0" fmla="*/ 0 w 4450701"/>
              <a:gd name="connsiteY0" fmla="*/ 6876661 h 6876661"/>
              <a:gd name="connsiteX1" fmla="*/ 3528732 w 4450701"/>
              <a:gd name="connsiteY1" fmla="*/ 18661 h 6876661"/>
              <a:gd name="connsiteX2" fmla="*/ 4450701 w 4450701"/>
              <a:gd name="connsiteY2" fmla="*/ 0 h 6876661"/>
              <a:gd name="connsiteX3" fmla="*/ 1033938 w 4450701"/>
              <a:gd name="connsiteY3" fmla="*/ 6811346 h 6876661"/>
              <a:gd name="connsiteX4" fmla="*/ 0 w 4450701"/>
              <a:gd name="connsiteY4" fmla="*/ 6876661 h 6876661"/>
              <a:gd name="connsiteX0" fmla="*/ 0 w 4077477"/>
              <a:gd name="connsiteY0" fmla="*/ 6932645 h 6932645"/>
              <a:gd name="connsiteX1" fmla="*/ 3528732 w 4077477"/>
              <a:gd name="connsiteY1" fmla="*/ 74645 h 6932645"/>
              <a:gd name="connsiteX2" fmla="*/ 4077477 w 4077477"/>
              <a:gd name="connsiteY2" fmla="*/ 0 h 6932645"/>
              <a:gd name="connsiteX3" fmla="*/ 1033938 w 4077477"/>
              <a:gd name="connsiteY3" fmla="*/ 6867330 h 6932645"/>
              <a:gd name="connsiteX4" fmla="*/ 0 w 4077477"/>
              <a:gd name="connsiteY4" fmla="*/ 6932645 h 6932645"/>
              <a:gd name="connsiteX0" fmla="*/ 0 w 4077477"/>
              <a:gd name="connsiteY0" fmla="*/ 6932645 h 6951305"/>
              <a:gd name="connsiteX1" fmla="*/ 3528732 w 4077477"/>
              <a:gd name="connsiteY1" fmla="*/ 74645 h 6951305"/>
              <a:gd name="connsiteX2" fmla="*/ 4077477 w 4077477"/>
              <a:gd name="connsiteY2" fmla="*/ 0 h 6951305"/>
              <a:gd name="connsiteX3" fmla="*/ 968624 w 4077477"/>
              <a:gd name="connsiteY3" fmla="*/ 6951305 h 6951305"/>
              <a:gd name="connsiteX4" fmla="*/ 0 w 4077477"/>
              <a:gd name="connsiteY4" fmla="*/ 6932645 h 6951305"/>
              <a:gd name="connsiteX0" fmla="*/ 0 w 4077477"/>
              <a:gd name="connsiteY0" fmla="*/ 6932645 h 6951305"/>
              <a:gd name="connsiteX1" fmla="*/ 3528732 w 4077477"/>
              <a:gd name="connsiteY1" fmla="*/ 74645 h 6951305"/>
              <a:gd name="connsiteX2" fmla="*/ 4077477 w 4077477"/>
              <a:gd name="connsiteY2" fmla="*/ 0 h 6951305"/>
              <a:gd name="connsiteX3" fmla="*/ 968624 w 4077477"/>
              <a:gd name="connsiteY3" fmla="*/ 6951305 h 6951305"/>
              <a:gd name="connsiteX4" fmla="*/ 0 w 4077477"/>
              <a:gd name="connsiteY4" fmla="*/ 6932645 h 6951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7477" h="6951305">
                <a:moveTo>
                  <a:pt x="0" y="6932645"/>
                </a:moveTo>
                <a:cubicBezTo>
                  <a:pt x="3014374" y="3853543"/>
                  <a:pt x="831598" y="1828800"/>
                  <a:pt x="3528732" y="74645"/>
                </a:cubicBezTo>
                <a:lnTo>
                  <a:pt x="4077477" y="0"/>
                </a:lnTo>
                <a:cubicBezTo>
                  <a:pt x="1041332" y="1539551"/>
                  <a:pt x="3370288" y="3415003"/>
                  <a:pt x="968624" y="6951305"/>
                </a:cubicBezTo>
                <a:lnTo>
                  <a:pt x="0" y="6932645"/>
                </a:lnTo>
                <a:close/>
              </a:path>
            </a:pathLst>
          </a:custGeom>
          <a:gradFill flip="none" rotWithShape="1">
            <a:gsLst>
              <a:gs pos="0">
                <a:srgbClr val="6002F3"/>
              </a:gs>
              <a:gs pos="51000">
                <a:srgbClr val="E13C5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4" name="Grupo 3">
            <a:extLst>
              <a:ext uri="{FF2B5EF4-FFF2-40B4-BE49-F238E27FC236}">
                <a16:creationId xmlns:a16="http://schemas.microsoft.com/office/drawing/2014/main" id="{5994376D-7E01-ED3B-E7DE-E7342DFD09E0}"/>
              </a:ext>
            </a:extLst>
          </p:cNvPr>
          <p:cNvGrpSpPr/>
          <p:nvPr userDrawn="1"/>
        </p:nvGrpSpPr>
        <p:grpSpPr>
          <a:xfrm>
            <a:off x="-6465" y="1"/>
            <a:ext cx="2719185" cy="1785824"/>
            <a:chOff x="-6465" y="0"/>
            <a:chExt cx="3280317" cy="2154347"/>
          </a:xfrm>
          <a:gradFill flip="none" rotWithShape="1">
            <a:gsLst>
              <a:gs pos="0">
                <a:srgbClr val="6002F3"/>
              </a:gs>
              <a:gs pos="63000">
                <a:srgbClr val="E13C5B"/>
              </a:gs>
            </a:gsLst>
            <a:lin ang="18900000" scaled="1"/>
            <a:tileRect/>
          </a:gradFill>
        </p:grpSpPr>
        <p:sp>
          <p:nvSpPr>
            <p:cNvPr id="7" name="Freeform 5">
              <a:extLst>
                <a:ext uri="{FF2B5EF4-FFF2-40B4-BE49-F238E27FC236}">
                  <a16:creationId xmlns:a16="http://schemas.microsoft.com/office/drawing/2014/main" id="{50F2E992-CF57-0F3B-F9A3-A7B4D3AF8CC5}"/>
                </a:ext>
              </a:extLst>
            </p:cNvPr>
            <p:cNvSpPr>
              <a:spLocks/>
            </p:cNvSpPr>
            <p:nvPr/>
          </p:nvSpPr>
          <p:spPr bwMode="auto">
            <a:xfrm rot="10800000" flipH="1">
              <a:off x="921072" y="0"/>
              <a:ext cx="2352780" cy="1514773"/>
            </a:xfrm>
            <a:custGeom>
              <a:avLst/>
              <a:gdLst>
                <a:gd name="T0" fmla="*/ 1286 w 2339"/>
                <a:gd name="T1" fmla="*/ 319 h 1504"/>
                <a:gd name="T2" fmla="*/ 1282 w 2339"/>
                <a:gd name="T3" fmla="*/ 314 h 1504"/>
                <a:gd name="T4" fmla="*/ 0 w 2339"/>
                <a:gd name="T5" fmla="*/ 82 h 1504"/>
                <a:gd name="T6" fmla="*/ 233 w 2339"/>
                <a:gd name="T7" fmla="*/ 209 h 1504"/>
                <a:gd name="T8" fmla="*/ 753 w 2339"/>
                <a:gd name="T9" fmla="*/ 753 h 1504"/>
                <a:gd name="T10" fmla="*/ 1476 w 2339"/>
                <a:gd name="T11" fmla="*/ 1504 h 1504"/>
                <a:gd name="T12" fmla="*/ 2339 w 2339"/>
                <a:gd name="T13" fmla="*/ 1504 h 1504"/>
                <a:gd name="T14" fmla="*/ 1286 w 2339"/>
                <a:gd name="T15" fmla="*/ 319 h 15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9" h="1504">
                  <a:moveTo>
                    <a:pt x="1286" y="319"/>
                  </a:moveTo>
                  <a:cubicBezTo>
                    <a:pt x="1284" y="318"/>
                    <a:pt x="1283" y="316"/>
                    <a:pt x="1282" y="314"/>
                  </a:cubicBezTo>
                  <a:cubicBezTo>
                    <a:pt x="848" y="19"/>
                    <a:pt x="390" y="0"/>
                    <a:pt x="0" y="82"/>
                  </a:cubicBezTo>
                  <a:cubicBezTo>
                    <a:pt x="65" y="107"/>
                    <a:pt x="144" y="146"/>
                    <a:pt x="233" y="209"/>
                  </a:cubicBezTo>
                  <a:cubicBezTo>
                    <a:pt x="382" y="314"/>
                    <a:pt x="560" y="482"/>
                    <a:pt x="753" y="753"/>
                  </a:cubicBezTo>
                  <a:cubicBezTo>
                    <a:pt x="1000" y="1100"/>
                    <a:pt x="1216" y="1337"/>
                    <a:pt x="1476" y="1504"/>
                  </a:cubicBezTo>
                  <a:cubicBezTo>
                    <a:pt x="2339" y="1504"/>
                    <a:pt x="2339" y="1504"/>
                    <a:pt x="2339" y="1504"/>
                  </a:cubicBezTo>
                  <a:cubicBezTo>
                    <a:pt x="1897" y="1246"/>
                    <a:pt x="1670" y="819"/>
                    <a:pt x="1286" y="31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8" name="Freeform 6">
              <a:extLst>
                <a:ext uri="{FF2B5EF4-FFF2-40B4-BE49-F238E27FC236}">
                  <a16:creationId xmlns:a16="http://schemas.microsoft.com/office/drawing/2014/main" id="{5267ACDD-8613-D15B-26F7-41710387C20D}"/>
                </a:ext>
              </a:extLst>
            </p:cNvPr>
            <p:cNvSpPr>
              <a:spLocks/>
            </p:cNvSpPr>
            <p:nvPr/>
          </p:nvSpPr>
          <p:spPr bwMode="auto">
            <a:xfrm rot="10800000" flipH="1">
              <a:off x="-6465" y="1025956"/>
              <a:ext cx="2220312" cy="1128391"/>
            </a:xfrm>
            <a:custGeom>
              <a:avLst/>
              <a:gdLst>
                <a:gd name="T0" fmla="*/ 2207 w 2207"/>
                <a:gd name="T1" fmla="*/ 956 h 1124"/>
                <a:gd name="T2" fmla="*/ 2165 w 2207"/>
                <a:gd name="T3" fmla="*/ 902 h 1124"/>
                <a:gd name="T4" fmla="*/ 0 w 2207"/>
                <a:gd name="T5" fmla="*/ 422 h 1124"/>
                <a:gd name="T6" fmla="*/ 0 w 2207"/>
                <a:gd name="T7" fmla="*/ 711 h 1124"/>
                <a:gd name="T8" fmla="*/ 0 w 2207"/>
                <a:gd name="T9" fmla="*/ 1124 h 1124"/>
                <a:gd name="T10" fmla="*/ 925 w 2207"/>
                <a:gd name="T11" fmla="*/ 724 h 1124"/>
                <a:gd name="T12" fmla="*/ 2207 w 2207"/>
                <a:gd name="T13" fmla="*/ 956 h 1124"/>
                <a:gd name="T14" fmla="*/ 2207 w 2207"/>
                <a:gd name="T15" fmla="*/ 956 h 11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07" h="1124">
                  <a:moveTo>
                    <a:pt x="2207" y="956"/>
                  </a:moveTo>
                  <a:cubicBezTo>
                    <a:pt x="2193" y="938"/>
                    <a:pt x="2179" y="920"/>
                    <a:pt x="2165" y="902"/>
                  </a:cubicBezTo>
                  <a:cubicBezTo>
                    <a:pt x="1442" y="0"/>
                    <a:pt x="348" y="297"/>
                    <a:pt x="0" y="422"/>
                  </a:cubicBezTo>
                  <a:cubicBezTo>
                    <a:pt x="0" y="711"/>
                    <a:pt x="0" y="711"/>
                    <a:pt x="0" y="711"/>
                  </a:cubicBezTo>
                  <a:cubicBezTo>
                    <a:pt x="0" y="1124"/>
                    <a:pt x="0" y="1124"/>
                    <a:pt x="0" y="1124"/>
                  </a:cubicBezTo>
                  <a:cubicBezTo>
                    <a:pt x="152" y="1022"/>
                    <a:pt x="499" y="813"/>
                    <a:pt x="925" y="724"/>
                  </a:cubicBezTo>
                  <a:cubicBezTo>
                    <a:pt x="1315" y="642"/>
                    <a:pt x="1773" y="661"/>
                    <a:pt x="2207" y="956"/>
                  </a:cubicBezTo>
                  <a:cubicBezTo>
                    <a:pt x="2207" y="956"/>
                    <a:pt x="2207" y="956"/>
                    <a:pt x="2207" y="956"/>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7">
              <a:extLst>
                <a:ext uri="{FF2B5EF4-FFF2-40B4-BE49-F238E27FC236}">
                  <a16:creationId xmlns:a16="http://schemas.microsoft.com/office/drawing/2014/main" id="{DF8FF2CE-5BA0-E24F-7A3A-29A008F36589}"/>
                </a:ext>
              </a:extLst>
            </p:cNvPr>
            <p:cNvSpPr>
              <a:spLocks/>
            </p:cNvSpPr>
            <p:nvPr/>
          </p:nvSpPr>
          <p:spPr bwMode="auto">
            <a:xfrm rot="10800000" flipH="1">
              <a:off x="-6465" y="1194893"/>
              <a:ext cx="2220312" cy="959454"/>
            </a:xfrm>
            <a:custGeom>
              <a:avLst/>
              <a:gdLst>
                <a:gd name="T0" fmla="*/ 2207 w 2207"/>
                <a:gd name="T1" fmla="*/ 956 h 956"/>
                <a:gd name="T2" fmla="*/ 2165 w 2207"/>
                <a:gd name="T3" fmla="*/ 902 h 956"/>
                <a:gd name="T4" fmla="*/ 0 w 2207"/>
                <a:gd name="T5" fmla="*/ 422 h 956"/>
                <a:gd name="T6" fmla="*/ 0 w 2207"/>
                <a:gd name="T7" fmla="*/ 711 h 956"/>
                <a:gd name="T8" fmla="*/ 2207 w 2207"/>
                <a:gd name="T9" fmla="*/ 956 h 956"/>
              </a:gdLst>
              <a:ahLst/>
              <a:cxnLst>
                <a:cxn ang="0">
                  <a:pos x="T0" y="T1"/>
                </a:cxn>
                <a:cxn ang="0">
                  <a:pos x="T2" y="T3"/>
                </a:cxn>
                <a:cxn ang="0">
                  <a:pos x="T4" y="T5"/>
                </a:cxn>
                <a:cxn ang="0">
                  <a:pos x="T6" y="T7"/>
                </a:cxn>
                <a:cxn ang="0">
                  <a:pos x="T8" y="T9"/>
                </a:cxn>
              </a:cxnLst>
              <a:rect l="0" t="0" r="r" b="b"/>
              <a:pathLst>
                <a:path w="2207" h="956">
                  <a:moveTo>
                    <a:pt x="2207" y="956"/>
                  </a:moveTo>
                  <a:cubicBezTo>
                    <a:pt x="2193" y="938"/>
                    <a:pt x="2179" y="920"/>
                    <a:pt x="2165" y="902"/>
                  </a:cubicBezTo>
                  <a:cubicBezTo>
                    <a:pt x="1442" y="0"/>
                    <a:pt x="348" y="297"/>
                    <a:pt x="0" y="422"/>
                  </a:cubicBezTo>
                  <a:cubicBezTo>
                    <a:pt x="0" y="711"/>
                    <a:pt x="0" y="711"/>
                    <a:pt x="0" y="711"/>
                  </a:cubicBezTo>
                  <a:cubicBezTo>
                    <a:pt x="336" y="552"/>
                    <a:pt x="1376" y="161"/>
                    <a:pt x="2207" y="956"/>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8">
              <a:extLst>
                <a:ext uri="{FF2B5EF4-FFF2-40B4-BE49-F238E27FC236}">
                  <a16:creationId xmlns:a16="http://schemas.microsoft.com/office/drawing/2014/main" id="{987C0B25-9A06-5107-3ED6-72F886639802}"/>
                </a:ext>
              </a:extLst>
            </p:cNvPr>
            <p:cNvSpPr>
              <a:spLocks/>
            </p:cNvSpPr>
            <p:nvPr/>
          </p:nvSpPr>
          <p:spPr bwMode="auto">
            <a:xfrm rot="10800000" flipH="1">
              <a:off x="918960" y="1194597"/>
              <a:ext cx="1293573" cy="320176"/>
            </a:xfrm>
            <a:custGeom>
              <a:avLst/>
              <a:gdLst>
                <a:gd name="T0" fmla="*/ 0 w 1286"/>
                <a:gd name="T1" fmla="*/ 82 h 319"/>
                <a:gd name="T2" fmla="*/ 233 w 1286"/>
                <a:gd name="T3" fmla="*/ 209 h 319"/>
                <a:gd name="T4" fmla="*/ 1286 w 1286"/>
                <a:gd name="T5" fmla="*/ 319 h 319"/>
                <a:gd name="T6" fmla="*/ 1282 w 1286"/>
                <a:gd name="T7" fmla="*/ 314 h 319"/>
                <a:gd name="T8" fmla="*/ 0 w 1286"/>
                <a:gd name="T9" fmla="*/ 82 h 319"/>
              </a:gdLst>
              <a:ahLst/>
              <a:cxnLst>
                <a:cxn ang="0">
                  <a:pos x="T0" y="T1"/>
                </a:cxn>
                <a:cxn ang="0">
                  <a:pos x="T2" y="T3"/>
                </a:cxn>
                <a:cxn ang="0">
                  <a:pos x="T4" y="T5"/>
                </a:cxn>
                <a:cxn ang="0">
                  <a:pos x="T6" y="T7"/>
                </a:cxn>
                <a:cxn ang="0">
                  <a:pos x="T8" y="T9"/>
                </a:cxn>
              </a:cxnLst>
              <a:rect l="0" t="0" r="r" b="b"/>
              <a:pathLst>
                <a:path w="1286" h="319">
                  <a:moveTo>
                    <a:pt x="0" y="82"/>
                  </a:moveTo>
                  <a:cubicBezTo>
                    <a:pt x="65" y="107"/>
                    <a:pt x="144" y="146"/>
                    <a:pt x="233" y="209"/>
                  </a:cubicBezTo>
                  <a:cubicBezTo>
                    <a:pt x="608" y="89"/>
                    <a:pt x="1035" y="217"/>
                    <a:pt x="1286" y="319"/>
                  </a:cubicBezTo>
                  <a:cubicBezTo>
                    <a:pt x="1284" y="318"/>
                    <a:pt x="1283" y="316"/>
                    <a:pt x="1282" y="314"/>
                  </a:cubicBezTo>
                  <a:cubicBezTo>
                    <a:pt x="848" y="19"/>
                    <a:pt x="390" y="0"/>
                    <a:pt x="0" y="8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pic>
        <p:nvPicPr>
          <p:cNvPr id="3" name="Gráfico 2">
            <a:extLst>
              <a:ext uri="{FF2B5EF4-FFF2-40B4-BE49-F238E27FC236}">
                <a16:creationId xmlns:a16="http://schemas.microsoft.com/office/drawing/2014/main" id="{07A81B8F-7774-EB92-5220-43DC7CF692E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33375" y="5971022"/>
            <a:ext cx="1697312" cy="789447"/>
          </a:xfrm>
          <a:prstGeom prst="rect">
            <a:avLst/>
          </a:prstGeom>
        </p:spPr>
      </p:pic>
    </p:spTree>
    <p:extLst>
      <p:ext uri="{BB962C8B-B14F-4D97-AF65-F5344CB8AC3E}">
        <p14:creationId xmlns:p14="http://schemas.microsoft.com/office/powerpoint/2010/main" val="12217900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impia con texto">
    <p:spTree>
      <p:nvGrpSpPr>
        <p:cNvPr id="1" name=""/>
        <p:cNvGrpSpPr/>
        <p:nvPr/>
      </p:nvGrpSpPr>
      <p:grpSpPr>
        <a:xfrm>
          <a:off x="0" y="0"/>
          <a:ext cx="0" cy="0"/>
          <a:chOff x="0" y="0"/>
          <a:chExt cx="0" cy="0"/>
        </a:xfrm>
      </p:grpSpPr>
      <p:sp>
        <p:nvSpPr>
          <p:cNvPr id="2" name="Parallelogram 3">
            <a:extLst>
              <a:ext uri="{FF2B5EF4-FFF2-40B4-BE49-F238E27FC236}">
                <a16:creationId xmlns:a16="http://schemas.microsoft.com/office/drawing/2014/main" id="{FDBDA099-C5D6-774E-C39D-23183EE1900E}"/>
              </a:ext>
            </a:extLst>
          </p:cNvPr>
          <p:cNvSpPr/>
          <p:nvPr userDrawn="1"/>
        </p:nvSpPr>
        <p:spPr>
          <a:xfrm rot="1475437">
            <a:off x="-652856" y="-3550298"/>
            <a:ext cx="4077477" cy="6951305"/>
          </a:xfrm>
          <a:custGeom>
            <a:avLst/>
            <a:gdLst>
              <a:gd name="connsiteX0" fmla="*/ 0 w 5812971"/>
              <a:gd name="connsiteY0" fmla="*/ 6858000 h 6858000"/>
              <a:gd name="connsiteX1" fmla="*/ 1522650 w 5812971"/>
              <a:gd name="connsiteY1" fmla="*/ 0 h 6858000"/>
              <a:gd name="connsiteX2" fmla="*/ 5812971 w 5812971"/>
              <a:gd name="connsiteY2" fmla="*/ 0 h 6858000"/>
              <a:gd name="connsiteX3" fmla="*/ 4290321 w 5812971"/>
              <a:gd name="connsiteY3" fmla="*/ 6858000 h 6858000"/>
              <a:gd name="connsiteX4" fmla="*/ 0 w 5812971"/>
              <a:gd name="connsiteY4" fmla="*/ 6858000 h 6858000"/>
              <a:gd name="connsiteX0" fmla="*/ 0 w 5812971"/>
              <a:gd name="connsiteY0" fmla="*/ 6858000 h 6858000"/>
              <a:gd name="connsiteX1" fmla="*/ 3528732 w 5812971"/>
              <a:gd name="connsiteY1" fmla="*/ 0 h 6858000"/>
              <a:gd name="connsiteX2" fmla="*/ 5812971 w 5812971"/>
              <a:gd name="connsiteY2" fmla="*/ 0 h 6858000"/>
              <a:gd name="connsiteX3" fmla="*/ 4290321 w 5812971"/>
              <a:gd name="connsiteY3" fmla="*/ 6858000 h 6858000"/>
              <a:gd name="connsiteX4" fmla="*/ 0 w 5812971"/>
              <a:gd name="connsiteY4" fmla="*/ 6858000 h 6858000"/>
              <a:gd name="connsiteX0" fmla="*/ 0 w 5812971"/>
              <a:gd name="connsiteY0" fmla="*/ 6858000 h 6858000"/>
              <a:gd name="connsiteX1" fmla="*/ 3528732 w 5812971"/>
              <a:gd name="connsiteY1" fmla="*/ 0 h 6858000"/>
              <a:gd name="connsiteX2" fmla="*/ 5812971 w 5812971"/>
              <a:gd name="connsiteY2" fmla="*/ 0 h 6858000"/>
              <a:gd name="connsiteX3" fmla="*/ 4290321 w 5812971"/>
              <a:gd name="connsiteY3" fmla="*/ 6858000 h 6858000"/>
              <a:gd name="connsiteX4" fmla="*/ 0 w 5812971"/>
              <a:gd name="connsiteY4" fmla="*/ 6858000 h 6858000"/>
              <a:gd name="connsiteX0" fmla="*/ 0 w 5812971"/>
              <a:gd name="connsiteY0" fmla="*/ 6858000 h 6858000"/>
              <a:gd name="connsiteX1" fmla="*/ 3528732 w 5812971"/>
              <a:gd name="connsiteY1" fmla="*/ 0 h 6858000"/>
              <a:gd name="connsiteX2" fmla="*/ 5812971 w 5812971"/>
              <a:gd name="connsiteY2" fmla="*/ 0 h 6858000"/>
              <a:gd name="connsiteX3" fmla="*/ 4290321 w 5812971"/>
              <a:gd name="connsiteY3" fmla="*/ 6858000 h 6858000"/>
              <a:gd name="connsiteX4" fmla="*/ 0 w 5812971"/>
              <a:gd name="connsiteY4" fmla="*/ 6858000 h 6858000"/>
              <a:gd name="connsiteX0" fmla="*/ 0 w 5812971"/>
              <a:gd name="connsiteY0" fmla="*/ 6858000 h 6858000"/>
              <a:gd name="connsiteX1" fmla="*/ 3528732 w 5812971"/>
              <a:gd name="connsiteY1" fmla="*/ 0 h 6858000"/>
              <a:gd name="connsiteX2" fmla="*/ 5812971 w 5812971"/>
              <a:gd name="connsiteY2" fmla="*/ 0 h 6858000"/>
              <a:gd name="connsiteX3" fmla="*/ 4290321 w 5812971"/>
              <a:gd name="connsiteY3" fmla="*/ 6858000 h 6858000"/>
              <a:gd name="connsiteX4" fmla="*/ 0 w 5812971"/>
              <a:gd name="connsiteY4" fmla="*/ 6858000 h 6858000"/>
              <a:gd name="connsiteX0" fmla="*/ 0 w 5812971"/>
              <a:gd name="connsiteY0" fmla="*/ 6858000 h 6858000"/>
              <a:gd name="connsiteX1" fmla="*/ 3528732 w 5812971"/>
              <a:gd name="connsiteY1" fmla="*/ 0 h 6858000"/>
              <a:gd name="connsiteX2" fmla="*/ 5812971 w 5812971"/>
              <a:gd name="connsiteY2" fmla="*/ 0 h 6858000"/>
              <a:gd name="connsiteX3" fmla="*/ 4290321 w 5812971"/>
              <a:gd name="connsiteY3" fmla="*/ 6858000 h 6858000"/>
              <a:gd name="connsiteX4" fmla="*/ 0 w 5812971"/>
              <a:gd name="connsiteY4" fmla="*/ 6858000 h 6858000"/>
              <a:gd name="connsiteX0" fmla="*/ 0 w 5812971"/>
              <a:gd name="connsiteY0" fmla="*/ 6858000 h 6858000"/>
              <a:gd name="connsiteX1" fmla="*/ 3528732 w 5812971"/>
              <a:gd name="connsiteY1" fmla="*/ 0 h 6858000"/>
              <a:gd name="connsiteX2" fmla="*/ 5812971 w 5812971"/>
              <a:gd name="connsiteY2" fmla="*/ 0 h 6858000"/>
              <a:gd name="connsiteX3" fmla="*/ 2368215 w 5812971"/>
              <a:gd name="connsiteY3" fmla="*/ 6774024 h 6858000"/>
              <a:gd name="connsiteX4" fmla="*/ 0 w 5812971"/>
              <a:gd name="connsiteY4" fmla="*/ 6858000 h 6858000"/>
              <a:gd name="connsiteX0" fmla="*/ 0 w 4413379"/>
              <a:gd name="connsiteY0" fmla="*/ 6858000 h 6858000"/>
              <a:gd name="connsiteX1" fmla="*/ 3528732 w 4413379"/>
              <a:gd name="connsiteY1" fmla="*/ 0 h 6858000"/>
              <a:gd name="connsiteX2" fmla="*/ 4413379 w 4413379"/>
              <a:gd name="connsiteY2" fmla="*/ 27992 h 6858000"/>
              <a:gd name="connsiteX3" fmla="*/ 2368215 w 4413379"/>
              <a:gd name="connsiteY3" fmla="*/ 6774024 h 6858000"/>
              <a:gd name="connsiteX4" fmla="*/ 0 w 4413379"/>
              <a:gd name="connsiteY4" fmla="*/ 6858000 h 6858000"/>
              <a:gd name="connsiteX0" fmla="*/ 0 w 4413379"/>
              <a:gd name="connsiteY0" fmla="*/ 6858000 h 6867330"/>
              <a:gd name="connsiteX1" fmla="*/ 3528732 w 4413379"/>
              <a:gd name="connsiteY1" fmla="*/ 0 h 6867330"/>
              <a:gd name="connsiteX2" fmla="*/ 4413379 w 4413379"/>
              <a:gd name="connsiteY2" fmla="*/ 27992 h 6867330"/>
              <a:gd name="connsiteX3" fmla="*/ 2358885 w 4413379"/>
              <a:gd name="connsiteY3" fmla="*/ 6867330 h 6867330"/>
              <a:gd name="connsiteX4" fmla="*/ 0 w 4413379"/>
              <a:gd name="connsiteY4" fmla="*/ 6858000 h 6867330"/>
              <a:gd name="connsiteX0" fmla="*/ 0 w 4450701"/>
              <a:gd name="connsiteY0" fmla="*/ 6876661 h 6885991"/>
              <a:gd name="connsiteX1" fmla="*/ 3528732 w 4450701"/>
              <a:gd name="connsiteY1" fmla="*/ 18661 h 6885991"/>
              <a:gd name="connsiteX2" fmla="*/ 4450701 w 4450701"/>
              <a:gd name="connsiteY2" fmla="*/ 0 h 6885991"/>
              <a:gd name="connsiteX3" fmla="*/ 2358885 w 4450701"/>
              <a:gd name="connsiteY3" fmla="*/ 6885991 h 6885991"/>
              <a:gd name="connsiteX4" fmla="*/ 0 w 4450701"/>
              <a:gd name="connsiteY4" fmla="*/ 6876661 h 6885991"/>
              <a:gd name="connsiteX0" fmla="*/ 0 w 4450701"/>
              <a:gd name="connsiteY0" fmla="*/ 6876661 h 6885991"/>
              <a:gd name="connsiteX1" fmla="*/ 3528732 w 4450701"/>
              <a:gd name="connsiteY1" fmla="*/ 18661 h 6885991"/>
              <a:gd name="connsiteX2" fmla="*/ 4450701 w 4450701"/>
              <a:gd name="connsiteY2" fmla="*/ 0 h 6885991"/>
              <a:gd name="connsiteX3" fmla="*/ 2358885 w 4450701"/>
              <a:gd name="connsiteY3" fmla="*/ 6885991 h 6885991"/>
              <a:gd name="connsiteX4" fmla="*/ 0 w 4450701"/>
              <a:gd name="connsiteY4" fmla="*/ 6876661 h 6885991"/>
              <a:gd name="connsiteX0" fmla="*/ 0 w 4450701"/>
              <a:gd name="connsiteY0" fmla="*/ 6876661 h 6885991"/>
              <a:gd name="connsiteX1" fmla="*/ 3528732 w 4450701"/>
              <a:gd name="connsiteY1" fmla="*/ 18661 h 6885991"/>
              <a:gd name="connsiteX2" fmla="*/ 4450701 w 4450701"/>
              <a:gd name="connsiteY2" fmla="*/ 0 h 6885991"/>
              <a:gd name="connsiteX3" fmla="*/ 2358885 w 4450701"/>
              <a:gd name="connsiteY3" fmla="*/ 6885991 h 6885991"/>
              <a:gd name="connsiteX4" fmla="*/ 0 w 4450701"/>
              <a:gd name="connsiteY4" fmla="*/ 6876661 h 6885991"/>
              <a:gd name="connsiteX0" fmla="*/ 0 w 4450701"/>
              <a:gd name="connsiteY0" fmla="*/ 6876661 h 6885991"/>
              <a:gd name="connsiteX1" fmla="*/ 3528732 w 4450701"/>
              <a:gd name="connsiteY1" fmla="*/ 18661 h 6885991"/>
              <a:gd name="connsiteX2" fmla="*/ 4450701 w 4450701"/>
              <a:gd name="connsiteY2" fmla="*/ 0 h 6885991"/>
              <a:gd name="connsiteX3" fmla="*/ 2358885 w 4450701"/>
              <a:gd name="connsiteY3" fmla="*/ 6885991 h 6885991"/>
              <a:gd name="connsiteX4" fmla="*/ 0 w 4450701"/>
              <a:gd name="connsiteY4" fmla="*/ 6876661 h 6885991"/>
              <a:gd name="connsiteX0" fmla="*/ 0 w 4450701"/>
              <a:gd name="connsiteY0" fmla="*/ 6876661 h 6885991"/>
              <a:gd name="connsiteX1" fmla="*/ 3528732 w 4450701"/>
              <a:gd name="connsiteY1" fmla="*/ 18661 h 6885991"/>
              <a:gd name="connsiteX2" fmla="*/ 4450701 w 4450701"/>
              <a:gd name="connsiteY2" fmla="*/ 0 h 6885991"/>
              <a:gd name="connsiteX3" fmla="*/ 2358885 w 4450701"/>
              <a:gd name="connsiteY3" fmla="*/ 6885991 h 6885991"/>
              <a:gd name="connsiteX4" fmla="*/ 0 w 4450701"/>
              <a:gd name="connsiteY4" fmla="*/ 6876661 h 6885991"/>
              <a:gd name="connsiteX0" fmla="*/ 0 w 4450701"/>
              <a:gd name="connsiteY0" fmla="*/ 6876661 h 6885991"/>
              <a:gd name="connsiteX1" fmla="*/ 3528732 w 4450701"/>
              <a:gd name="connsiteY1" fmla="*/ 18661 h 6885991"/>
              <a:gd name="connsiteX2" fmla="*/ 4450701 w 4450701"/>
              <a:gd name="connsiteY2" fmla="*/ 0 h 6885991"/>
              <a:gd name="connsiteX3" fmla="*/ 2358885 w 4450701"/>
              <a:gd name="connsiteY3" fmla="*/ 6885991 h 6885991"/>
              <a:gd name="connsiteX4" fmla="*/ 0 w 4450701"/>
              <a:gd name="connsiteY4" fmla="*/ 6876661 h 6885991"/>
              <a:gd name="connsiteX0" fmla="*/ 0 w 4450701"/>
              <a:gd name="connsiteY0" fmla="*/ 6876661 h 6876661"/>
              <a:gd name="connsiteX1" fmla="*/ 3528732 w 4450701"/>
              <a:gd name="connsiteY1" fmla="*/ 18661 h 6876661"/>
              <a:gd name="connsiteX2" fmla="*/ 4450701 w 4450701"/>
              <a:gd name="connsiteY2" fmla="*/ 0 h 6876661"/>
              <a:gd name="connsiteX3" fmla="*/ 1033938 w 4450701"/>
              <a:gd name="connsiteY3" fmla="*/ 6811346 h 6876661"/>
              <a:gd name="connsiteX4" fmla="*/ 0 w 4450701"/>
              <a:gd name="connsiteY4" fmla="*/ 6876661 h 6876661"/>
              <a:gd name="connsiteX0" fmla="*/ 0 w 4077477"/>
              <a:gd name="connsiteY0" fmla="*/ 6932645 h 6932645"/>
              <a:gd name="connsiteX1" fmla="*/ 3528732 w 4077477"/>
              <a:gd name="connsiteY1" fmla="*/ 74645 h 6932645"/>
              <a:gd name="connsiteX2" fmla="*/ 4077477 w 4077477"/>
              <a:gd name="connsiteY2" fmla="*/ 0 h 6932645"/>
              <a:gd name="connsiteX3" fmla="*/ 1033938 w 4077477"/>
              <a:gd name="connsiteY3" fmla="*/ 6867330 h 6932645"/>
              <a:gd name="connsiteX4" fmla="*/ 0 w 4077477"/>
              <a:gd name="connsiteY4" fmla="*/ 6932645 h 6932645"/>
              <a:gd name="connsiteX0" fmla="*/ 0 w 4077477"/>
              <a:gd name="connsiteY0" fmla="*/ 6932645 h 6951305"/>
              <a:gd name="connsiteX1" fmla="*/ 3528732 w 4077477"/>
              <a:gd name="connsiteY1" fmla="*/ 74645 h 6951305"/>
              <a:gd name="connsiteX2" fmla="*/ 4077477 w 4077477"/>
              <a:gd name="connsiteY2" fmla="*/ 0 h 6951305"/>
              <a:gd name="connsiteX3" fmla="*/ 968624 w 4077477"/>
              <a:gd name="connsiteY3" fmla="*/ 6951305 h 6951305"/>
              <a:gd name="connsiteX4" fmla="*/ 0 w 4077477"/>
              <a:gd name="connsiteY4" fmla="*/ 6932645 h 6951305"/>
              <a:gd name="connsiteX0" fmla="*/ 0 w 4077477"/>
              <a:gd name="connsiteY0" fmla="*/ 6932645 h 6951305"/>
              <a:gd name="connsiteX1" fmla="*/ 3528732 w 4077477"/>
              <a:gd name="connsiteY1" fmla="*/ 74645 h 6951305"/>
              <a:gd name="connsiteX2" fmla="*/ 4077477 w 4077477"/>
              <a:gd name="connsiteY2" fmla="*/ 0 h 6951305"/>
              <a:gd name="connsiteX3" fmla="*/ 968624 w 4077477"/>
              <a:gd name="connsiteY3" fmla="*/ 6951305 h 6951305"/>
              <a:gd name="connsiteX4" fmla="*/ 0 w 4077477"/>
              <a:gd name="connsiteY4" fmla="*/ 6932645 h 6951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7477" h="6951305">
                <a:moveTo>
                  <a:pt x="0" y="6932645"/>
                </a:moveTo>
                <a:cubicBezTo>
                  <a:pt x="3014374" y="3853543"/>
                  <a:pt x="831598" y="1828800"/>
                  <a:pt x="3528732" y="74645"/>
                </a:cubicBezTo>
                <a:lnTo>
                  <a:pt x="4077477" y="0"/>
                </a:lnTo>
                <a:cubicBezTo>
                  <a:pt x="1041332" y="1539551"/>
                  <a:pt x="3370288" y="3415003"/>
                  <a:pt x="968624" y="6951305"/>
                </a:cubicBezTo>
                <a:lnTo>
                  <a:pt x="0" y="6932645"/>
                </a:lnTo>
                <a:close/>
              </a:path>
            </a:pathLst>
          </a:custGeom>
          <a:gradFill flip="none" rotWithShape="1">
            <a:gsLst>
              <a:gs pos="0">
                <a:srgbClr val="6002F3"/>
              </a:gs>
              <a:gs pos="51000">
                <a:srgbClr val="E13C5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4" name="Parallelogram 3">
            <a:extLst>
              <a:ext uri="{FF2B5EF4-FFF2-40B4-BE49-F238E27FC236}">
                <a16:creationId xmlns:a16="http://schemas.microsoft.com/office/drawing/2014/main" id="{31AE8007-B5D6-4861-EF00-AF56A77C33FC}"/>
              </a:ext>
            </a:extLst>
          </p:cNvPr>
          <p:cNvSpPr/>
          <p:nvPr userDrawn="1"/>
        </p:nvSpPr>
        <p:spPr>
          <a:xfrm>
            <a:off x="9457936" y="-74646"/>
            <a:ext cx="4077477" cy="6951305"/>
          </a:xfrm>
          <a:custGeom>
            <a:avLst/>
            <a:gdLst>
              <a:gd name="connsiteX0" fmla="*/ 0 w 5812971"/>
              <a:gd name="connsiteY0" fmla="*/ 6858000 h 6858000"/>
              <a:gd name="connsiteX1" fmla="*/ 1522650 w 5812971"/>
              <a:gd name="connsiteY1" fmla="*/ 0 h 6858000"/>
              <a:gd name="connsiteX2" fmla="*/ 5812971 w 5812971"/>
              <a:gd name="connsiteY2" fmla="*/ 0 h 6858000"/>
              <a:gd name="connsiteX3" fmla="*/ 4290321 w 5812971"/>
              <a:gd name="connsiteY3" fmla="*/ 6858000 h 6858000"/>
              <a:gd name="connsiteX4" fmla="*/ 0 w 5812971"/>
              <a:gd name="connsiteY4" fmla="*/ 6858000 h 6858000"/>
              <a:gd name="connsiteX0" fmla="*/ 0 w 5812971"/>
              <a:gd name="connsiteY0" fmla="*/ 6858000 h 6858000"/>
              <a:gd name="connsiteX1" fmla="*/ 3528732 w 5812971"/>
              <a:gd name="connsiteY1" fmla="*/ 0 h 6858000"/>
              <a:gd name="connsiteX2" fmla="*/ 5812971 w 5812971"/>
              <a:gd name="connsiteY2" fmla="*/ 0 h 6858000"/>
              <a:gd name="connsiteX3" fmla="*/ 4290321 w 5812971"/>
              <a:gd name="connsiteY3" fmla="*/ 6858000 h 6858000"/>
              <a:gd name="connsiteX4" fmla="*/ 0 w 5812971"/>
              <a:gd name="connsiteY4" fmla="*/ 6858000 h 6858000"/>
              <a:gd name="connsiteX0" fmla="*/ 0 w 5812971"/>
              <a:gd name="connsiteY0" fmla="*/ 6858000 h 6858000"/>
              <a:gd name="connsiteX1" fmla="*/ 3528732 w 5812971"/>
              <a:gd name="connsiteY1" fmla="*/ 0 h 6858000"/>
              <a:gd name="connsiteX2" fmla="*/ 5812971 w 5812971"/>
              <a:gd name="connsiteY2" fmla="*/ 0 h 6858000"/>
              <a:gd name="connsiteX3" fmla="*/ 4290321 w 5812971"/>
              <a:gd name="connsiteY3" fmla="*/ 6858000 h 6858000"/>
              <a:gd name="connsiteX4" fmla="*/ 0 w 5812971"/>
              <a:gd name="connsiteY4" fmla="*/ 6858000 h 6858000"/>
              <a:gd name="connsiteX0" fmla="*/ 0 w 5812971"/>
              <a:gd name="connsiteY0" fmla="*/ 6858000 h 6858000"/>
              <a:gd name="connsiteX1" fmla="*/ 3528732 w 5812971"/>
              <a:gd name="connsiteY1" fmla="*/ 0 h 6858000"/>
              <a:gd name="connsiteX2" fmla="*/ 5812971 w 5812971"/>
              <a:gd name="connsiteY2" fmla="*/ 0 h 6858000"/>
              <a:gd name="connsiteX3" fmla="*/ 4290321 w 5812971"/>
              <a:gd name="connsiteY3" fmla="*/ 6858000 h 6858000"/>
              <a:gd name="connsiteX4" fmla="*/ 0 w 5812971"/>
              <a:gd name="connsiteY4" fmla="*/ 6858000 h 6858000"/>
              <a:gd name="connsiteX0" fmla="*/ 0 w 5812971"/>
              <a:gd name="connsiteY0" fmla="*/ 6858000 h 6858000"/>
              <a:gd name="connsiteX1" fmla="*/ 3528732 w 5812971"/>
              <a:gd name="connsiteY1" fmla="*/ 0 h 6858000"/>
              <a:gd name="connsiteX2" fmla="*/ 5812971 w 5812971"/>
              <a:gd name="connsiteY2" fmla="*/ 0 h 6858000"/>
              <a:gd name="connsiteX3" fmla="*/ 4290321 w 5812971"/>
              <a:gd name="connsiteY3" fmla="*/ 6858000 h 6858000"/>
              <a:gd name="connsiteX4" fmla="*/ 0 w 5812971"/>
              <a:gd name="connsiteY4" fmla="*/ 6858000 h 6858000"/>
              <a:gd name="connsiteX0" fmla="*/ 0 w 5812971"/>
              <a:gd name="connsiteY0" fmla="*/ 6858000 h 6858000"/>
              <a:gd name="connsiteX1" fmla="*/ 3528732 w 5812971"/>
              <a:gd name="connsiteY1" fmla="*/ 0 h 6858000"/>
              <a:gd name="connsiteX2" fmla="*/ 5812971 w 5812971"/>
              <a:gd name="connsiteY2" fmla="*/ 0 h 6858000"/>
              <a:gd name="connsiteX3" fmla="*/ 4290321 w 5812971"/>
              <a:gd name="connsiteY3" fmla="*/ 6858000 h 6858000"/>
              <a:gd name="connsiteX4" fmla="*/ 0 w 5812971"/>
              <a:gd name="connsiteY4" fmla="*/ 6858000 h 6858000"/>
              <a:gd name="connsiteX0" fmla="*/ 0 w 5812971"/>
              <a:gd name="connsiteY0" fmla="*/ 6858000 h 6858000"/>
              <a:gd name="connsiteX1" fmla="*/ 3528732 w 5812971"/>
              <a:gd name="connsiteY1" fmla="*/ 0 h 6858000"/>
              <a:gd name="connsiteX2" fmla="*/ 5812971 w 5812971"/>
              <a:gd name="connsiteY2" fmla="*/ 0 h 6858000"/>
              <a:gd name="connsiteX3" fmla="*/ 2368215 w 5812971"/>
              <a:gd name="connsiteY3" fmla="*/ 6774024 h 6858000"/>
              <a:gd name="connsiteX4" fmla="*/ 0 w 5812971"/>
              <a:gd name="connsiteY4" fmla="*/ 6858000 h 6858000"/>
              <a:gd name="connsiteX0" fmla="*/ 0 w 4413379"/>
              <a:gd name="connsiteY0" fmla="*/ 6858000 h 6858000"/>
              <a:gd name="connsiteX1" fmla="*/ 3528732 w 4413379"/>
              <a:gd name="connsiteY1" fmla="*/ 0 h 6858000"/>
              <a:gd name="connsiteX2" fmla="*/ 4413379 w 4413379"/>
              <a:gd name="connsiteY2" fmla="*/ 27992 h 6858000"/>
              <a:gd name="connsiteX3" fmla="*/ 2368215 w 4413379"/>
              <a:gd name="connsiteY3" fmla="*/ 6774024 h 6858000"/>
              <a:gd name="connsiteX4" fmla="*/ 0 w 4413379"/>
              <a:gd name="connsiteY4" fmla="*/ 6858000 h 6858000"/>
              <a:gd name="connsiteX0" fmla="*/ 0 w 4413379"/>
              <a:gd name="connsiteY0" fmla="*/ 6858000 h 6867330"/>
              <a:gd name="connsiteX1" fmla="*/ 3528732 w 4413379"/>
              <a:gd name="connsiteY1" fmla="*/ 0 h 6867330"/>
              <a:gd name="connsiteX2" fmla="*/ 4413379 w 4413379"/>
              <a:gd name="connsiteY2" fmla="*/ 27992 h 6867330"/>
              <a:gd name="connsiteX3" fmla="*/ 2358885 w 4413379"/>
              <a:gd name="connsiteY3" fmla="*/ 6867330 h 6867330"/>
              <a:gd name="connsiteX4" fmla="*/ 0 w 4413379"/>
              <a:gd name="connsiteY4" fmla="*/ 6858000 h 6867330"/>
              <a:gd name="connsiteX0" fmla="*/ 0 w 4450701"/>
              <a:gd name="connsiteY0" fmla="*/ 6876661 h 6885991"/>
              <a:gd name="connsiteX1" fmla="*/ 3528732 w 4450701"/>
              <a:gd name="connsiteY1" fmla="*/ 18661 h 6885991"/>
              <a:gd name="connsiteX2" fmla="*/ 4450701 w 4450701"/>
              <a:gd name="connsiteY2" fmla="*/ 0 h 6885991"/>
              <a:gd name="connsiteX3" fmla="*/ 2358885 w 4450701"/>
              <a:gd name="connsiteY3" fmla="*/ 6885991 h 6885991"/>
              <a:gd name="connsiteX4" fmla="*/ 0 w 4450701"/>
              <a:gd name="connsiteY4" fmla="*/ 6876661 h 6885991"/>
              <a:gd name="connsiteX0" fmla="*/ 0 w 4450701"/>
              <a:gd name="connsiteY0" fmla="*/ 6876661 h 6885991"/>
              <a:gd name="connsiteX1" fmla="*/ 3528732 w 4450701"/>
              <a:gd name="connsiteY1" fmla="*/ 18661 h 6885991"/>
              <a:gd name="connsiteX2" fmla="*/ 4450701 w 4450701"/>
              <a:gd name="connsiteY2" fmla="*/ 0 h 6885991"/>
              <a:gd name="connsiteX3" fmla="*/ 2358885 w 4450701"/>
              <a:gd name="connsiteY3" fmla="*/ 6885991 h 6885991"/>
              <a:gd name="connsiteX4" fmla="*/ 0 w 4450701"/>
              <a:gd name="connsiteY4" fmla="*/ 6876661 h 6885991"/>
              <a:gd name="connsiteX0" fmla="*/ 0 w 4450701"/>
              <a:gd name="connsiteY0" fmla="*/ 6876661 h 6885991"/>
              <a:gd name="connsiteX1" fmla="*/ 3528732 w 4450701"/>
              <a:gd name="connsiteY1" fmla="*/ 18661 h 6885991"/>
              <a:gd name="connsiteX2" fmla="*/ 4450701 w 4450701"/>
              <a:gd name="connsiteY2" fmla="*/ 0 h 6885991"/>
              <a:gd name="connsiteX3" fmla="*/ 2358885 w 4450701"/>
              <a:gd name="connsiteY3" fmla="*/ 6885991 h 6885991"/>
              <a:gd name="connsiteX4" fmla="*/ 0 w 4450701"/>
              <a:gd name="connsiteY4" fmla="*/ 6876661 h 6885991"/>
              <a:gd name="connsiteX0" fmla="*/ 0 w 4450701"/>
              <a:gd name="connsiteY0" fmla="*/ 6876661 h 6885991"/>
              <a:gd name="connsiteX1" fmla="*/ 3528732 w 4450701"/>
              <a:gd name="connsiteY1" fmla="*/ 18661 h 6885991"/>
              <a:gd name="connsiteX2" fmla="*/ 4450701 w 4450701"/>
              <a:gd name="connsiteY2" fmla="*/ 0 h 6885991"/>
              <a:gd name="connsiteX3" fmla="*/ 2358885 w 4450701"/>
              <a:gd name="connsiteY3" fmla="*/ 6885991 h 6885991"/>
              <a:gd name="connsiteX4" fmla="*/ 0 w 4450701"/>
              <a:gd name="connsiteY4" fmla="*/ 6876661 h 6885991"/>
              <a:gd name="connsiteX0" fmla="*/ 0 w 4450701"/>
              <a:gd name="connsiteY0" fmla="*/ 6876661 h 6885991"/>
              <a:gd name="connsiteX1" fmla="*/ 3528732 w 4450701"/>
              <a:gd name="connsiteY1" fmla="*/ 18661 h 6885991"/>
              <a:gd name="connsiteX2" fmla="*/ 4450701 w 4450701"/>
              <a:gd name="connsiteY2" fmla="*/ 0 h 6885991"/>
              <a:gd name="connsiteX3" fmla="*/ 2358885 w 4450701"/>
              <a:gd name="connsiteY3" fmla="*/ 6885991 h 6885991"/>
              <a:gd name="connsiteX4" fmla="*/ 0 w 4450701"/>
              <a:gd name="connsiteY4" fmla="*/ 6876661 h 6885991"/>
              <a:gd name="connsiteX0" fmla="*/ 0 w 4450701"/>
              <a:gd name="connsiteY0" fmla="*/ 6876661 h 6885991"/>
              <a:gd name="connsiteX1" fmla="*/ 3528732 w 4450701"/>
              <a:gd name="connsiteY1" fmla="*/ 18661 h 6885991"/>
              <a:gd name="connsiteX2" fmla="*/ 4450701 w 4450701"/>
              <a:gd name="connsiteY2" fmla="*/ 0 h 6885991"/>
              <a:gd name="connsiteX3" fmla="*/ 2358885 w 4450701"/>
              <a:gd name="connsiteY3" fmla="*/ 6885991 h 6885991"/>
              <a:gd name="connsiteX4" fmla="*/ 0 w 4450701"/>
              <a:gd name="connsiteY4" fmla="*/ 6876661 h 6885991"/>
              <a:gd name="connsiteX0" fmla="*/ 0 w 4450701"/>
              <a:gd name="connsiteY0" fmla="*/ 6876661 h 6876661"/>
              <a:gd name="connsiteX1" fmla="*/ 3528732 w 4450701"/>
              <a:gd name="connsiteY1" fmla="*/ 18661 h 6876661"/>
              <a:gd name="connsiteX2" fmla="*/ 4450701 w 4450701"/>
              <a:gd name="connsiteY2" fmla="*/ 0 h 6876661"/>
              <a:gd name="connsiteX3" fmla="*/ 1033938 w 4450701"/>
              <a:gd name="connsiteY3" fmla="*/ 6811346 h 6876661"/>
              <a:gd name="connsiteX4" fmla="*/ 0 w 4450701"/>
              <a:gd name="connsiteY4" fmla="*/ 6876661 h 6876661"/>
              <a:gd name="connsiteX0" fmla="*/ 0 w 4077477"/>
              <a:gd name="connsiteY0" fmla="*/ 6932645 h 6932645"/>
              <a:gd name="connsiteX1" fmla="*/ 3528732 w 4077477"/>
              <a:gd name="connsiteY1" fmla="*/ 74645 h 6932645"/>
              <a:gd name="connsiteX2" fmla="*/ 4077477 w 4077477"/>
              <a:gd name="connsiteY2" fmla="*/ 0 h 6932645"/>
              <a:gd name="connsiteX3" fmla="*/ 1033938 w 4077477"/>
              <a:gd name="connsiteY3" fmla="*/ 6867330 h 6932645"/>
              <a:gd name="connsiteX4" fmla="*/ 0 w 4077477"/>
              <a:gd name="connsiteY4" fmla="*/ 6932645 h 6932645"/>
              <a:gd name="connsiteX0" fmla="*/ 0 w 4077477"/>
              <a:gd name="connsiteY0" fmla="*/ 6932645 h 6951305"/>
              <a:gd name="connsiteX1" fmla="*/ 3528732 w 4077477"/>
              <a:gd name="connsiteY1" fmla="*/ 74645 h 6951305"/>
              <a:gd name="connsiteX2" fmla="*/ 4077477 w 4077477"/>
              <a:gd name="connsiteY2" fmla="*/ 0 h 6951305"/>
              <a:gd name="connsiteX3" fmla="*/ 968624 w 4077477"/>
              <a:gd name="connsiteY3" fmla="*/ 6951305 h 6951305"/>
              <a:gd name="connsiteX4" fmla="*/ 0 w 4077477"/>
              <a:gd name="connsiteY4" fmla="*/ 6932645 h 6951305"/>
              <a:gd name="connsiteX0" fmla="*/ 0 w 4077477"/>
              <a:gd name="connsiteY0" fmla="*/ 6932645 h 6951305"/>
              <a:gd name="connsiteX1" fmla="*/ 3528732 w 4077477"/>
              <a:gd name="connsiteY1" fmla="*/ 74645 h 6951305"/>
              <a:gd name="connsiteX2" fmla="*/ 4077477 w 4077477"/>
              <a:gd name="connsiteY2" fmla="*/ 0 h 6951305"/>
              <a:gd name="connsiteX3" fmla="*/ 968624 w 4077477"/>
              <a:gd name="connsiteY3" fmla="*/ 6951305 h 6951305"/>
              <a:gd name="connsiteX4" fmla="*/ 0 w 4077477"/>
              <a:gd name="connsiteY4" fmla="*/ 6932645 h 6951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7477" h="6951305">
                <a:moveTo>
                  <a:pt x="0" y="6932645"/>
                </a:moveTo>
                <a:cubicBezTo>
                  <a:pt x="3014374" y="3853543"/>
                  <a:pt x="831598" y="1828800"/>
                  <a:pt x="3528732" y="74645"/>
                </a:cubicBezTo>
                <a:lnTo>
                  <a:pt x="4077477" y="0"/>
                </a:lnTo>
                <a:cubicBezTo>
                  <a:pt x="1041332" y="1539551"/>
                  <a:pt x="3370288" y="3415003"/>
                  <a:pt x="968624" y="6951305"/>
                </a:cubicBezTo>
                <a:lnTo>
                  <a:pt x="0" y="6932645"/>
                </a:lnTo>
                <a:close/>
              </a:path>
            </a:pathLst>
          </a:custGeom>
          <a:gradFill flip="none" rotWithShape="1">
            <a:gsLst>
              <a:gs pos="0">
                <a:srgbClr val="6002F3"/>
              </a:gs>
              <a:gs pos="51000">
                <a:srgbClr val="E13C5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cxnSp>
        <p:nvCxnSpPr>
          <p:cNvPr id="9" name="Conector recto 8">
            <a:extLst>
              <a:ext uri="{FF2B5EF4-FFF2-40B4-BE49-F238E27FC236}">
                <a16:creationId xmlns:a16="http://schemas.microsoft.com/office/drawing/2014/main" id="{5911FFBA-9BC1-C77E-1733-36157C1E84F6}"/>
              </a:ext>
            </a:extLst>
          </p:cNvPr>
          <p:cNvCxnSpPr>
            <a:cxnSpLocks/>
          </p:cNvCxnSpPr>
          <p:nvPr userDrawn="1"/>
        </p:nvCxnSpPr>
        <p:spPr>
          <a:xfrm>
            <a:off x="3577393" y="870346"/>
            <a:ext cx="8538407" cy="0"/>
          </a:xfrm>
          <a:prstGeom prst="line">
            <a:avLst/>
          </a:prstGeom>
          <a:ln w="19050">
            <a:solidFill>
              <a:srgbClr val="E33C5B"/>
            </a:solidFill>
          </a:ln>
        </p:spPr>
        <p:style>
          <a:lnRef idx="1">
            <a:schemeClr val="accent1"/>
          </a:lnRef>
          <a:fillRef idx="0">
            <a:schemeClr val="accent1"/>
          </a:fillRef>
          <a:effectRef idx="0">
            <a:schemeClr val="accent1"/>
          </a:effectRef>
          <a:fontRef idx="minor">
            <a:schemeClr val="tx1"/>
          </a:fontRef>
        </p:style>
      </p:cxnSp>
      <p:sp>
        <p:nvSpPr>
          <p:cNvPr id="10" name="Marcador de texto 14">
            <a:extLst>
              <a:ext uri="{FF2B5EF4-FFF2-40B4-BE49-F238E27FC236}">
                <a16:creationId xmlns:a16="http://schemas.microsoft.com/office/drawing/2014/main" id="{2C6444F9-8D07-303C-57BA-D807FC685445}"/>
              </a:ext>
            </a:extLst>
          </p:cNvPr>
          <p:cNvSpPr>
            <a:spLocks noGrp="1"/>
          </p:cNvSpPr>
          <p:nvPr>
            <p:ph type="body" sz="quarter" idx="15" hasCustomPrompt="1"/>
          </p:nvPr>
        </p:nvSpPr>
        <p:spPr>
          <a:xfrm>
            <a:off x="1256956" y="609236"/>
            <a:ext cx="5068429" cy="993321"/>
          </a:xfrm>
          <a:prstGeom prst="rect">
            <a:avLst/>
          </a:prstGeom>
        </p:spPr>
        <p:txBody>
          <a:bodyPr/>
          <a:lstStyle>
            <a:lvl1pPr marL="0" indent="0">
              <a:buNone/>
              <a:defRPr sz="3400" b="1">
                <a:solidFill>
                  <a:srgbClr val="014B7F"/>
                </a:solidFill>
                <a:latin typeface="Poppins" panose="00000500000000000000" pitchFamily="2" charset="0"/>
                <a:cs typeface="Poppins" panose="00000500000000000000" pitchFamily="2" charset="0"/>
              </a:defRPr>
            </a:lvl1pPr>
          </a:lstStyle>
          <a:p>
            <a:pPr lvl="0"/>
            <a:r>
              <a:rPr lang="es-MX" dirty="0"/>
              <a:t>TÍTULO</a:t>
            </a:r>
          </a:p>
        </p:txBody>
      </p:sp>
      <p:pic>
        <p:nvPicPr>
          <p:cNvPr id="3" name="Gráfico 2">
            <a:extLst>
              <a:ext uri="{FF2B5EF4-FFF2-40B4-BE49-F238E27FC236}">
                <a16:creationId xmlns:a16="http://schemas.microsoft.com/office/drawing/2014/main" id="{A1E881D2-FC4E-82FD-B092-60BD4608747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33375" y="5971022"/>
            <a:ext cx="1697312" cy="789447"/>
          </a:xfrm>
          <a:prstGeom prst="rect">
            <a:avLst/>
          </a:prstGeom>
        </p:spPr>
      </p:pic>
    </p:spTree>
    <p:extLst>
      <p:ext uri="{BB962C8B-B14F-4D97-AF65-F5344CB8AC3E}">
        <p14:creationId xmlns:p14="http://schemas.microsoft.com/office/powerpoint/2010/main" val="14643937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impia con texto 2">
    <p:spTree>
      <p:nvGrpSpPr>
        <p:cNvPr id="1" name=""/>
        <p:cNvGrpSpPr/>
        <p:nvPr/>
      </p:nvGrpSpPr>
      <p:grpSpPr>
        <a:xfrm>
          <a:off x="0" y="0"/>
          <a:ext cx="0" cy="0"/>
          <a:chOff x="0" y="0"/>
          <a:chExt cx="0" cy="0"/>
        </a:xfrm>
      </p:grpSpPr>
      <p:cxnSp>
        <p:nvCxnSpPr>
          <p:cNvPr id="3" name="Conector recto 2">
            <a:extLst>
              <a:ext uri="{FF2B5EF4-FFF2-40B4-BE49-F238E27FC236}">
                <a16:creationId xmlns:a16="http://schemas.microsoft.com/office/drawing/2014/main" id="{101B1395-36C1-9A7D-78A6-6D5C8A5A5F6F}"/>
              </a:ext>
            </a:extLst>
          </p:cNvPr>
          <p:cNvCxnSpPr>
            <a:cxnSpLocks/>
          </p:cNvCxnSpPr>
          <p:nvPr userDrawn="1"/>
        </p:nvCxnSpPr>
        <p:spPr>
          <a:xfrm>
            <a:off x="2565918" y="819596"/>
            <a:ext cx="9703837" cy="0"/>
          </a:xfrm>
          <a:prstGeom prst="line">
            <a:avLst/>
          </a:prstGeom>
          <a:ln w="19050">
            <a:solidFill>
              <a:srgbClr val="E33C5B"/>
            </a:solidFill>
          </a:ln>
        </p:spPr>
        <p:style>
          <a:lnRef idx="1">
            <a:schemeClr val="accent1"/>
          </a:lnRef>
          <a:fillRef idx="0">
            <a:schemeClr val="accent1"/>
          </a:fillRef>
          <a:effectRef idx="0">
            <a:schemeClr val="accent1"/>
          </a:effectRef>
          <a:fontRef idx="minor">
            <a:schemeClr val="tx1"/>
          </a:fontRef>
        </p:style>
      </p:cxnSp>
      <p:grpSp>
        <p:nvGrpSpPr>
          <p:cNvPr id="4" name="Grupo 3">
            <a:extLst>
              <a:ext uri="{FF2B5EF4-FFF2-40B4-BE49-F238E27FC236}">
                <a16:creationId xmlns:a16="http://schemas.microsoft.com/office/drawing/2014/main" id="{18E15788-00D6-AD25-5038-4C2ED0659F06}"/>
              </a:ext>
            </a:extLst>
          </p:cNvPr>
          <p:cNvGrpSpPr/>
          <p:nvPr userDrawn="1"/>
        </p:nvGrpSpPr>
        <p:grpSpPr>
          <a:xfrm rot="10800000">
            <a:off x="9472815" y="5071967"/>
            <a:ext cx="2719185" cy="1785824"/>
            <a:chOff x="-6465" y="0"/>
            <a:chExt cx="3280317" cy="2154347"/>
          </a:xfrm>
          <a:gradFill flip="none" rotWithShape="1">
            <a:gsLst>
              <a:gs pos="0">
                <a:srgbClr val="6002F3"/>
              </a:gs>
              <a:gs pos="63000">
                <a:srgbClr val="E13C5B"/>
              </a:gs>
            </a:gsLst>
            <a:lin ang="18900000" scaled="1"/>
            <a:tileRect/>
          </a:gradFill>
        </p:grpSpPr>
        <p:sp>
          <p:nvSpPr>
            <p:cNvPr id="7" name="Freeform 5">
              <a:extLst>
                <a:ext uri="{FF2B5EF4-FFF2-40B4-BE49-F238E27FC236}">
                  <a16:creationId xmlns:a16="http://schemas.microsoft.com/office/drawing/2014/main" id="{5AAC42D1-4AC4-853E-9A9E-AB49B1EC4E21}"/>
                </a:ext>
              </a:extLst>
            </p:cNvPr>
            <p:cNvSpPr>
              <a:spLocks/>
            </p:cNvSpPr>
            <p:nvPr/>
          </p:nvSpPr>
          <p:spPr bwMode="auto">
            <a:xfrm rot="10800000" flipH="1">
              <a:off x="921072" y="0"/>
              <a:ext cx="2352780" cy="1514773"/>
            </a:xfrm>
            <a:custGeom>
              <a:avLst/>
              <a:gdLst>
                <a:gd name="T0" fmla="*/ 1286 w 2339"/>
                <a:gd name="T1" fmla="*/ 319 h 1504"/>
                <a:gd name="T2" fmla="*/ 1282 w 2339"/>
                <a:gd name="T3" fmla="*/ 314 h 1504"/>
                <a:gd name="T4" fmla="*/ 0 w 2339"/>
                <a:gd name="T5" fmla="*/ 82 h 1504"/>
                <a:gd name="T6" fmla="*/ 233 w 2339"/>
                <a:gd name="T7" fmla="*/ 209 h 1504"/>
                <a:gd name="T8" fmla="*/ 753 w 2339"/>
                <a:gd name="T9" fmla="*/ 753 h 1504"/>
                <a:gd name="T10" fmla="*/ 1476 w 2339"/>
                <a:gd name="T11" fmla="*/ 1504 h 1504"/>
                <a:gd name="T12" fmla="*/ 2339 w 2339"/>
                <a:gd name="T13" fmla="*/ 1504 h 1504"/>
                <a:gd name="T14" fmla="*/ 1286 w 2339"/>
                <a:gd name="T15" fmla="*/ 319 h 15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9" h="1504">
                  <a:moveTo>
                    <a:pt x="1286" y="319"/>
                  </a:moveTo>
                  <a:cubicBezTo>
                    <a:pt x="1284" y="318"/>
                    <a:pt x="1283" y="316"/>
                    <a:pt x="1282" y="314"/>
                  </a:cubicBezTo>
                  <a:cubicBezTo>
                    <a:pt x="848" y="19"/>
                    <a:pt x="390" y="0"/>
                    <a:pt x="0" y="82"/>
                  </a:cubicBezTo>
                  <a:cubicBezTo>
                    <a:pt x="65" y="107"/>
                    <a:pt x="144" y="146"/>
                    <a:pt x="233" y="209"/>
                  </a:cubicBezTo>
                  <a:cubicBezTo>
                    <a:pt x="382" y="314"/>
                    <a:pt x="560" y="482"/>
                    <a:pt x="753" y="753"/>
                  </a:cubicBezTo>
                  <a:cubicBezTo>
                    <a:pt x="1000" y="1100"/>
                    <a:pt x="1216" y="1337"/>
                    <a:pt x="1476" y="1504"/>
                  </a:cubicBezTo>
                  <a:cubicBezTo>
                    <a:pt x="2339" y="1504"/>
                    <a:pt x="2339" y="1504"/>
                    <a:pt x="2339" y="1504"/>
                  </a:cubicBezTo>
                  <a:cubicBezTo>
                    <a:pt x="1897" y="1246"/>
                    <a:pt x="1670" y="819"/>
                    <a:pt x="1286" y="31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8" name="Freeform 6">
              <a:extLst>
                <a:ext uri="{FF2B5EF4-FFF2-40B4-BE49-F238E27FC236}">
                  <a16:creationId xmlns:a16="http://schemas.microsoft.com/office/drawing/2014/main" id="{90B0CD78-47C9-6F5D-DBB2-8554EEA45635}"/>
                </a:ext>
              </a:extLst>
            </p:cNvPr>
            <p:cNvSpPr>
              <a:spLocks/>
            </p:cNvSpPr>
            <p:nvPr/>
          </p:nvSpPr>
          <p:spPr bwMode="auto">
            <a:xfrm rot="10800000" flipH="1">
              <a:off x="-6465" y="1025956"/>
              <a:ext cx="2220312" cy="1128391"/>
            </a:xfrm>
            <a:custGeom>
              <a:avLst/>
              <a:gdLst>
                <a:gd name="T0" fmla="*/ 2207 w 2207"/>
                <a:gd name="T1" fmla="*/ 956 h 1124"/>
                <a:gd name="T2" fmla="*/ 2165 w 2207"/>
                <a:gd name="T3" fmla="*/ 902 h 1124"/>
                <a:gd name="T4" fmla="*/ 0 w 2207"/>
                <a:gd name="T5" fmla="*/ 422 h 1124"/>
                <a:gd name="T6" fmla="*/ 0 w 2207"/>
                <a:gd name="T7" fmla="*/ 711 h 1124"/>
                <a:gd name="T8" fmla="*/ 0 w 2207"/>
                <a:gd name="T9" fmla="*/ 1124 h 1124"/>
                <a:gd name="T10" fmla="*/ 925 w 2207"/>
                <a:gd name="T11" fmla="*/ 724 h 1124"/>
                <a:gd name="T12" fmla="*/ 2207 w 2207"/>
                <a:gd name="T13" fmla="*/ 956 h 1124"/>
                <a:gd name="T14" fmla="*/ 2207 w 2207"/>
                <a:gd name="T15" fmla="*/ 956 h 11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07" h="1124">
                  <a:moveTo>
                    <a:pt x="2207" y="956"/>
                  </a:moveTo>
                  <a:cubicBezTo>
                    <a:pt x="2193" y="938"/>
                    <a:pt x="2179" y="920"/>
                    <a:pt x="2165" y="902"/>
                  </a:cubicBezTo>
                  <a:cubicBezTo>
                    <a:pt x="1442" y="0"/>
                    <a:pt x="348" y="297"/>
                    <a:pt x="0" y="422"/>
                  </a:cubicBezTo>
                  <a:cubicBezTo>
                    <a:pt x="0" y="711"/>
                    <a:pt x="0" y="711"/>
                    <a:pt x="0" y="711"/>
                  </a:cubicBezTo>
                  <a:cubicBezTo>
                    <a:pt x="0" y="1124"/>
                    <a:pt x="0" y="1124"/>
                    <a:pt x="0" y="1124"/>
                  </a:cubicBezTo>
                  <a:cubicBezTo>
                    <a:pt x="152" y="1022"/>
                    <a:pt x="499" y="813"/>
                    <a:pt x="925" y="724"/>
                  </a:cubicBezTo>
                  <a:cubicBezTo>
                    <a:pt x="1315" y="642"/>
                    <a:pt x="1773" y="661"/>
                    <a:pt x="2207" y="956"/>
                  </a:cubicBezTo>
                  <a:cubicBezTo>
                    <a:pt x="2207" y="956"/>
                    <a:pt x="2207" y="956"/>
                    <a:pt x="2207" y="956"/>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7">
              <a:extLst>
                <a:ext uri="{FF2B5EF4-FFF2-40B4-BE49-F238E27FC236}">
                  <a16:creationId xmlns:a16="http://schemas.microsoft.com/office/drawing/2014/main" id="{0B4C6C06-7F96-3948-B9F0-5139BE302ACF}"/>
                </a:ext>
              </a:extLst>
            </p:cNvPr>
            <p:cNvSpPr>
              <a:spLocks/>
            </p:cNvSpPr>
            <p:nvPr/>
          </p:nvSpPr>
          <p:spPr bwMode="auto">
            <a:xfrm rot="10800000" flipH="1">
              <a:off x="-6465" y="1194893"/>
              <a:ext cx="2220312" cy="959454"/>
            </a:xfrm>
            <a:custGeom>
              <a:avLst/>
              <a:gdLst>
                <a:gd name="T0" fmla="*/ 2207 w 2207"/>
                <a:gd name="T1" fmla="*/ 956 h 956"/>
                <a:gd name="T2" fmla="*/ 2165 w 2207"/>
                <a:gd name="T3" fmla="*/ 902 h 956"/>
                <a:gd name="T4" fmla="*/ 0 w 2207"/>
                <a:gd name="T5" fmla="*/ 422 h 956"/>
                <a:gd name="T6" fmla="*/ 0 w 2207"/>
                <a:gd name="T7" fmla="*/ 711 h 956"/>
                <a:gd name="T8" fmla="*/ 2207 w 2207"/>
                <a:gd name="T9" fmla="*/ 956 h 956"/>
              </a:gdLst>
              <a:ahLst/>
              <a:cxnLst>
                <a:cxn ang="0">
                  <a:pos x="T0" y="T1"/>
                </a:cxn>
                <a:cxn ang="0">
                  <a:pos x="T2" y="T3"/>
                </a:cxn>
                <a:cxn ang="0">
                  <a:pos x="T4" y="T5"/>
                </a:cxn>
                <a:cxn ang="0">
                  <a:pos x="T6" y="T7"/>
                </a:cxn>
                <a:cxn ang="0">
                  <a:pos x="T8" y="T9"/>
                </a:cxn>
              </a:cxnLst>
              <a:rect l="0" t="0" r="r" b="b"/>
              <a:pathLst>
                <a:path w="2207" h="956">
                  <a:moveTo>
                    <a:pt x="2207" y="956"/>
                  </a:moveTo>
                  <a:cubicBezTo>
                    <a:pt x="2193" y="938"/>
                    <a:pt x="2179" y="920"/>
                    <a:pt x="2165" y="902"/>
                  </a:cubicBezTo>
                  <a:cubicBezTo>
                    <a:pt x="1442" y="0"/>
                    <a:pt x="348" y="297"/>
                    <a:pt x="0" y="422"/>
                  </a:cubicBezTo>
                  <a:cubicBezTo>
                    <a:pt x="0" y="711"/>
                    <a:pt x="0" y="711"/>
                    <a:pt x="0" y="711"/>
                  </a:cubicBezTo>
                  <a:cubicBezTo>
                    <a:pt x="336" y="552"/>
                    <a:pt x="1376" y="161"/>
                    <a:pt x="2207" y="956"/>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8">
              <a:extLst>
                <a:ext uri="{FF2B5EF4-FFF2-40B4-BE49-F238E27FC236}">
                  <a16:creationId xmlns:a16="http://schemas.microsoft.com/office/drawing/2014/main" id="{D3150683-8806-5887-58D1-BFC04FB6C173}"/>
                </a:ext>
              </a:extLst>
            </p:cNvPr>
            <p:cNvSpPr>
              <a:spLocks/>
            </p:cNvSpPr>
            <p:nvPr/>
          </p:nvSpPr>
          <p:spPr bwMode="auto">
            <a:xfrm rot="10800000" flipH="1">
              <a:off x="918960" y="1194597"/>
              <a:ext cx="1293573" cy="320176"/>
            </a:xfrm>
            <a:custGeom>
              <a:avLst/>
              <a:gdLst>
                <a:gd name="T0" fmla="*/ 0 w 1286"/>
                <a:gd name="T1" fmla="*/ 82 h 319"/>
                <a:gd name="T2" fmla="*/ 233 w 1286"/>
                <a:gd name="T3" fmla="*/ 209 h 319"/>
                <a:gd name="T4" fmla="*/ 1286 w 1286"/>
                <a:gd name="T5" fmla="*/ 319 h 319"/>
                <a:gd name="T6" fmla="*/ 1282 w 1286"/>
                <a:gd name="T7" fmla="*/ 314 h 319"/>
                <a:gd name="T8" fmla="*/ 0 w 1286"/>
                <a:gd name="T9" fmla="*/ 82 h 319"/>
              </a:gdLst>
              <a:ahLst/>
              <a:cxnLst>
                <a:cxn ang="0">
                  <a:pos x="T0" y="T1"/>
                </a:cxn>
                <a:cxn ang="0">
                  <a:pos x="T2" y="T3"/>
                </a:cxn>
                <a:cxn ang="0">
                  <a:pos x="T4" y="T5"/>
                </a:cxn>
                <a:cxn ang="0">
                  <a:pos x="T6" y="T7"/>
                </a:cxn>
                <a:cxn ang="0">
                  <a:pos x="T8" y="T9"/>
                </a:cxn>
              </a:cxnLst>
              <a:rect l="0" t="0" r="r" b="b"/>
              <a:pathLst>
                <a:path w="1286" h="319">
                  <a:moveTo>
                    <a:pt x="0" y="82"/>
                  </a:moveTo>
                  <a:cubicBezTo>
                    <a:pt x="65" y="107"/>
                    <a:pt x="144" y="146"/>
                    <a:pt x="233" y="209"/>
                  </a:cubicBezTo>
                  <a:cubicBezTo>
                    <a:pt x="608" y="89"/>
                    <a:pt x="1035" y="217"/>
                    <a:pt x="1286" y="319"/>
                  </a:cubicBezTo>
                  <a:cubicBezTo>
                    <a:pt x="1284" y="318"/>
                    <a:pt x="1283" y="316"/>
                    <a:pt x="1282" y="314"/>
                  </a:cubicBezTo>
                  <a:cubicBezTo>
                    <a:pt x="848" y="19"/>
                    <a:pt x="390" y="0"/>
                    <a:pt x="0" y="8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11" name="Marcador de texto 14">
            <a:extLst>
              <a:ext uri="{FF2B5EF4-FFF2-40B4-BE49-F238E27FC236}">
                <a16:creationId xmlns:a16="http://schemas.microsoft.com/office/drawing/2014/main" id="{677E047C-73DA-2851-ED93-7F6647EA5DED}"/>
              </a:ext>
            </a:extLst>
          </p:cNvPr>
          <p:cNvSpPr>
            <a:spLocks noGrp="1"/>
          </p:cNvSpPr>
          <p:nvPr>
            <p:ph type="body" sz="quarter" idx="15" hasCustomPrompt="1"/>
          </p:nvPr>
        </p:nvSpPr>
        <p:spPr>
          <a:xfrm>
            <a:off x="481101" y="609236"/>
            <a:ext cx="5068429" cy="993321"/>
          </a:xfrm>
          <a:prstGeom prst="rect">
            <a:avLst/>
          </a:prstGeom>
        </p:spPr>
        <p:txBody>
          <a:bodyPr/>
          <a:lstStyle>
            <a:lvl1pPr marL="0" indent="0">
              <a:buNone/>
              <a:defRPr sz="3400" b="1">
                <a:solidFill>
                  <a:srgbClr val="014B7F"/>
                </a:solidFill>
                <a:latin typeface="Poppins" panose="00000500000000000000" pitchFamily="2" charset="0"/>
                <a:cs typeface="Poppins" panose="00000500000000000000" pitchFamily="2" charset="0"/>
              </a:defRPr>
            </a:lvl1pPr>
          </a:lstStyle>
          <a:p>
            <a:pPr lvl="0"/>
            <a:r>
              <a:rPr lang="es-MX" dirty="0"/>
              <a:t>TÍTULO</a:t>
            </a:r>
          </a:p>
        </p:txBody>
      </p:sp>
      <p:pic>
        <p:nvPicPr>
          <p:cNvPr id="2" name="Gráfico 1">
            <a:extLst>
              <a:ext uri="{FF2B5EF4-FFF2-40B4-BE49-F238E27FC236}">
                <a16:creationId xmlns:a16="http://schemas.microsoft.com/office/drawing/2014/main" id="{0536EB07-3BD1-F6C9-FD50-964DF3C7C88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33375" y="5971022"/>
            <a:ext cx="1697312" cy="789447"/>
          </a:xfrm>
          <a:prstGeom prst="rect">
            <a:avLst/>
          </a:prstGeom>
        </p:spPr>
      </p:pic>
    </p:spTree>
    <p:extLst>
      <p:ext uri="{BB962C8B-B14F-4D97-AF65-F5344CB8AC3E}">
        <p14:creationId xmlns:p14="http://schemas.microsoft.com/office/powerpoint/2010/main" val="16762621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olo texto">
    <p:spTree>
      <p:nvGrpSpPr>
        <p:cNvPr id="1" name=""/>
        <p:cNvGrpSpPr/>
        <p:nvPr/>
      </p:nvGrpSpPr>
      <p:grpSpPr>
        <a:xfrm>
          <a:off x="0" y="0"/>
          <a:ext cx="0" cy="0"/>
          <a:chOff x="0" y="0"/>
          <a:chExt cx="0" cy="0"/>
        </a:xfrm>
      </p:grpSpPr>
      <p:pic>
        <p:nvPicPr>
          <p:cNvPr id="3" name="Gráfico 2">
            <a:extLst>
              <a:ext uri="{FF2B5EF4-FFF2-40B4-BE49-F238E27FC236}">
                <a16:creationId xmlns:a16="http://schemas.microsoft.com/office/drawing/2014/main" id="{47394C06-91A3-3746-F590-DFA94A69F5F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9" name="Marcador de texto 8">
            <a:extLst>
              <a:ext uri="{FF2B5EF4-FFF2-40B4-BE49-F238E27FC236}">
                <a16:creationId xmlns:a16="http://schemas.microsoft.com/office/drawing/2014/main" id="{F1B9D022-F583-B6B7-F8EA-B54E21F62CE5}"/>
              </a:ext>
            </a:extLst>
          </p:cNvPr>
          <p:cNvSpPr>
            <a:spLocks noGrp="1"/>
          </p:cNvSpPr>
          <p:nvPr>
            <p:ph type="body" sz="quarter" idx="10" hasCustomPrompt="1"/>
          </p:nvPr>
        </p:nvSpPr>
        <p:spPr>
          <a:xfrm>
            <a:off x="1173163" y="2294661"/>
            <a:ext cx="10085387" cy="2484438"/>
          </a:xfrm>
          <a:prstGeom prst="rect">
            <a:avLst/>
          </a:prstGeom>
        </p:spPr>
        <p:txBody>
          <a:bodyPr/>
          <a:lstStyle>
            <a:lvl1pPr marL="0" indent="0" algn="ctr">
              <a:buNone/>
              <a:defRPr sz="1800">
                <a:solidFill>
                  <a:schemeClr val="bg1"/>
                </a:solidFill>
                <a:latin typeface="Poppins" panose="00000500000000000000" pitchFamily="2" charset="0"/>
                <a:cs typeface="Poppins" panose="00000500000000000000" pitchFamily="2" charset="0"/>
              </a:defRPr>
            </a:lvl1pPr>
          </a:lstStyle>
          <a:p>
            <a:pPr lvl="0"/>
            <a:r>
              <a:rPr lang="es-MX" dirty="0"/>
              <a:t>Cuerpo de texto</a:t>
            </a:r>
          </a:p>
        </p:txBody>
      </p:sp>
      <p:pic>
        <p:nvPicPr>
          <p:cNvPr id="6" name="Gráfico 5">
            <a:extLst>
              <a:ext uri="{FF2B5EF4-FFF2-40B4-BE49-F238E27FC236}">
                <a16:creationId xmlns:a16="http://schemas.microsoft.com/office/drawing/2014/main" id="{DD501EB4-A344-3320-6109-99FCAB4C23D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33958" y="5961327"/>
            <a:ext cx="1697311" cy="789447"/>
          </a:xfrm>
          <a:prstGeom prst="rect">
            <a:avLst/>
          </a:prstGeom>
        </p:spPr>
      </p:pic>
    </p:spTree>
    <p:extLst>
      <p:ext uri="{BB962C8B-B14F-4D97-AF65-F5344CB8AC3E}">
        <p14:creationId xmlns:p14="http://schemas.microsoft.com/office/powerpoint/2010/main" val="7626282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ntacto">
    <p:spTree>
      <p:nvGrpSpPr>
        <p:cNvPr id="1" name=""/>
        <p:cNvGrpSpPr/>
        <p:nvPr/>
      </p:nvGrpSpPr>
      <p:grpSpPr>
        <a:xfrm>
          <a:off x="0" y="0"/>
          <a:ext cx="0" cy="0"/>
          <a:chOff x="0" y="0"/>
          <a:chExt cx="0" cy="0"/>
        </a:xfrm>
      </p:grpSpPr>
      <p:pic>
        <p:nvPicPr>
          <p:cNvPr id="16" name="Gráfico 15">
            <a:extLst>
              <a:ext uri="{FF2B5EF4-FFF2-40B4-BE49-F238E27FC236}">
                <a16:creationId xmlns:a16="http://schemas.microsoft.com/office/drawing/2014/main" id="{A275D9E5-1AB5-997E-CD10-99BFDDB5CF2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pic>
        <p:nvPicPr>
          <p:cNvPr id="2" name="Gráfico 1">
            <a:extLst>
              <a:ext uri="{FF2B5EF4-FFF2-40B4-BE49-F238E27FC236}">
                <a16:creationId xmlns:a16="http://schemas.microsoft.com/office/drawing/2014/main" id="{8325FE6A-2517-22CB-D2DF-D56D1E6E869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392964" y="3806360"/>
            <a:ext cx="289650" cy="289650"/>
          </a:xfrm>
          <a:prstGeom prst="rect">
            <a:avLst/>
          </a:prstGeom>
        </p:spPr>
      </p:pic>
      <p:pic>
        <p:nvPicPr>
          <p:cNvPr id="4" name="Gráfico 3">
            <a:extLst>
              <a:ext uri="{FF2B5EF4-FFF2-40B4-BE49-F238E27FC236}">
                <a16:creationId xmlns:a16="http://schemas.microsoft.com/office/drawing/2014/main" id="{062026A6-2202-680D-3918-1D3FE5A1F53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96255" y="4205313"/>
            <a:ext cx="283068" cy="283068"/>
          </a:xfrm>
          <a:prstGeom prst="rect">
            <a:avLst/>
          </a:prstGeom>
        </p:spPr>
      </p:pic>
      <p:pic>
        <p:nvPicPr>
          <p:cNvPr id="7" name="Gráfico 6">
            <a:extLst>
              <a:ext uri="{FF2B5EF4-FFF2-40B4-BE49-F238E27FC236}">
                <a16:creationId xmlns:a16="http://schemas.microsoft.com/office/drawing/2014/main" id="{64E7E7F2-4512-29A4-BE78-CF2C78B09F4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392964" y="4648717"/>
            <a:ext cx="289650" cy="223821"/>
          </a:xfrm>
          <a:prstGeom prst="rect">
            <a:avLst/>
          </a:prstGeom>
        </p:spPr>
      </p:pic>
      <p:pic>
        <p:nvPicPr>
          <p:cNvPr id="8" name="Gráfico 7">
            <a:extLst>
              <a:ext uri="{FF2B5EF4-FFF2-40B4-BE49-F238E27FC236}">
                <a16:creationId xmlns:a16="http://schemas.microsoft.com/office/drawing/2014/main" id="{7796EC7C-52D0-96A9-B047-DFEEF3EA0231}"/>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1429170" y="5035107"/>
            <a:ext cx="217239" cy="283068"/>
          </a:xfrm>
          <a:prstGeom prst="rect">
            <a:avLst/>
          </a:prstGeom>
        </p:spPr>
      </p:pic>
      <p:pic>
        <p:nvPicPr>
          <p:cNvPr id="9" name="Gráfico 8">
            <a:extLst>
              <a:ext uri="{FF2B5EF4-FFF2-40B4-BE49-F238E27FC236}">
                <a16:creationId xmlns:a16="http://schemas.microsoft.com/office/drawing/2014/main" id="{908ADD1B-16B4-A3B2-54EE-468845960E2C}"/>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10109611" y="5563889"/>
            <a:ext cx="1546999" cy="230404"/>
          </a:xfrm>
          <a:prstGeom prst="rect">
            <a:avLst/>
          </a:prstGeom>
        </p:spPr>
      </p:pic>
      <p:sp>
        <p:nvSpPr>
          <p:cNvPr id="10" name="Marcador de texto 24">
            <a:extLst>
              <a:ext uri="{FF2B5EF4-FFF2-40B4-BE49-F238E27FC236}">
                <a16:creationId xmlns:a16="http://schemas.microsoft.com/office/drawing/2014/main" id="{1CBF608A-C093-9EBD-91BE-EAD8FD802D43}"/>
              </a:ext>
            </a:extLst>
          </p:cNvPr>
          <p:cNvSpPr txBox="1">
            <a:spLocks/>
          </p:cNvSpPr>
          <p:nvPr userDrawn="1"/>
        </p:nvSpPr>
        <p:spPr>
          <a:xfrm>
            <a:off x="8668369" y="3803312"/>
            <a:ext cx="2620963" cy="255714"/>
          </a:xfrm>
          <a:prstGeom prst="rect">
            <a:avLst/>
          </a:prstGeom>
        </p:spPr>
        <p:txBody>
          <a:bodyPr>
            <a:noAutofit/>
          </a:bodyPr>
          <a:lstStyle>
            <a:lvl1pPr marL="0" indent="0" algn="r" defTabSz="914400" rtl="0" eaLnBrk="1" latinLnBrk="0" hangingPunct="1">
              <a:lnSpc>
                <a:spcPct val="90000"/>
              </a:lnSpc>
              <a:spcBef>
                <a:spcPts val="1000"/>
              </a:spcBef>
              <a:buFont typeface="Arial" panose="020B0604020202020204" pitchFamily="34" charset="0"/>
              <a:buNone/>
              <a:defRPr sz="1400" kern="1200">
                <a:solidFill>
                  <a:srgbClr val="024B80"/>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MX"/>
              <a:t>amdetur.org.mx</a:t>
            </a:r>
            <a:endParaRPr lang="es-MX" dirty="0"/>
          </a:p>
        </p:txBody>
      </p:sp>
      <p:sp>
        <p:nvSpPr>
          <p:cNvPr id="11" name="Marcador de texto 24">
            <a:extLst>
              <a:ext uri="{FF2B5EF4-FFF2-40B4-BE49-F238E27FC236}">
                <a16:creationId xmlns:a16="http://schemas.microsoft.com/office/drawing/2014/main" id="{13B59FB1-15E6-CC23-67BE-9AEC22563E17}"/>
              </a:ext>
            </a:extLst>
          </p:cNvPr>
          <p:cNvSpPr txBox="1">
            <a:spLocks/>
          </p:cNvSpPr>
          <p:nvPr userDrawn="1"/>
        </p:nvSpPr>
        <p:spPr>
          <a:xfrm>
            <a:off x="8668369" y="4218990"/>
            <a:ext cx="2620963" cy="255714"/>
          </a:xfrm>
          <a:prstGeom prst="rect">
            <a:avLst/>
          </a:prstGeom>
        </p:spPr>
        <p:txBody>
          <a:bodyPr>
            <a:noAutofit/>
          </a:bodyPr>
          <a:lstStyle>
            <a:lvl1pPr marL="0" indent="0" algn="r" defTabSz="914400" rtl="0" eaLnBrk="1" latinLnBrk="0" hangingPunct="1">
              <a:lnSpc>
                <a:spcPct val="90000"/>
              </a:lnSpc>
              <a:spcBef>
                <a:spcPts val="1000"/>
              </a:spcBef>
              <a:buFont typeface="Arial" panose="020B0604020202020204" pitchFamily="34" charset="0"/>
              <a:buNone/>
              <a:defRPr sz="1400" kern="1200">
                <a:solidFill>
                  <a:srgbClr val="024B80"/>
                </a:solidFill>
                <a:latin typeface="Poppins Light" panose="00000400000000000000" pitchFamily="2" charset="0"/>
                <a:ea typeface="+mn-ea"/>
                <a:cs typeface="Poppins Light" panose="000004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MX"/>
              <a:t>Tel. 01 55 54882028 al 31</a:t>
            </a:r>
            <a:endParaRPr lang="es-MX" dirty="0"/>
          </a:p>
        </p:txBody>
      </p:sp>
      <p:sp>
        <p:nvSpPr>
          <p:cNvPr id="12" name="Marcador de texto 24">
            <a:extLst>
              <a:ext uri="{FF2B5EF4-FFF2-40B4-BE49-F238E27FC236}">
                <a16:creationId xmlns:a16="http://schemas.microsoft.com/office/drawing/2014/main" id="{18B68671-71F5-0027-BF06-B4FDEBED0F7B}"/>
              </a:ext>
            </a:extLst>
          </p:cNvPr>
          <p:cNvSpPr txBox="1">
            <a:spLocks/>
          </p:cNvSpPr>
          <p:nvPr userDrawn="1"/>
        </p:nvSpPr>
        <p:spPr>
          <a:xfrm>
            <a:off x="8668369" y="4610170"/>
            <a:ext cx="2620963" cy="255714"/>
          </a:xfrm>
          <a:prstGeom prst="rect">
            <a:avLst/>
          </a:prstGeom>
        </p:spPr>
        <p:txBody>
          <a:bodyPr>
            <a:noAutofit/>
          </a:bodyPr>
          <a:lstStyle>
            <a:lvl1pPr marL="0" indent="0" algn="r" defTabSz="914400" rtl="0" eaLnBrk="1" latinLnBrk="0" hangingPunct="1">
              <a:lnSpc>
                <a:spcPct val="90000"/>
              </a:lnSpc>
              <a:spcBef>
                <a:spcPts val="1000"/>
              </a:spcBef>
              <a:buFont typeface="Arial" panose="020B0604020202020204" pitchFamily="34" charset="0"/>
              <a:buNone/>
              <a:defRPr sz="1400" kern="1200">
                <a:solidFill>
                  <a:srgbClr val="024B80"/>
                </a:solidFill>
                <a:latin typeface="Poppins Medium" panose="00000600000000000000" pitchFamily="2" charset="0"/>
                <a:ea typeface="+mn-ea"/>
                <a:cs typeface="Poppins Medium" panose="000006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MX" dirty="0"/>
              <a:t>contacto@amdetur.org.mx</a:t>
            </a:r>
          </a:p>
        </p:txBody>
      </p:sp>
      <p:sp>
        <p:nvSpPr>
          <p:cNvPr id="13" name="Marcador de texto 24">
            <a:extLst>
              <a:ext uri="{FF2B5EF4-FFF2-40B4-BE49-F238E27FC236}">
                <a16:creationId xmlns:a16="http://schemas.microsoft.com/office/drawing/2014/main" id="{B1145EB3-A6DF-75B2-5E77-1FCC7519F1EE}"/>
              </a:ext>
            </a:extLst>
          </p:cNvPr>
          <p:cNvSpPr txBox="1">
            <a:spLocks/>
          </p:cNvSpPr>
          <p:nvPr userDrawn="1"/>
        </p:nvSpPr>
        <p:spPr>
          <a:xfrm>
            <a:off x="8814596" y="5532812"/>
            <a:ext cx="1163838" cy="255714"/>
          </a:xfrm>
          <a:prstGeom prst="rect">
            <a:avLst/>
          </a:prstGeom>
        </p:spPr>
        <p:txBody>
          <a:bodyPr>
            <a:noAutofit/>
          </a:bodyPr>
          <a:lstStyle>
            <a:lvl1pPr marL="0" indent="0" algn="r" defTabSz="914400" rtl="0" eaLnBrk="1" latinLnBrk="0" hangingPunct="1">
              <a:lnSpc>
                <a:spcPct val="90000"/>
              </a:lnSpc>
              <a:spcBef>
                <a:spcPts val="1000"/>
              </a:spcBef>
              <a:buFont typeface="Arial" panose="020B0604020202020204" pitchFamily="34" charset="0"/>
              <a:buNone/>
              <a:defRPr sz="1400" kern="1200">
                <a:solidFill>
                  <a:srgbClr val="024B80"/>
                </a:solidFill>
                <a:latin typeface="Poppins Medium" panose="00000600000000000000" pitchFamily="2" charset="0"/>
                <a:ea typeface="+mn-ea"/>
                <a:cs typeface="Poppins Medium" panose="000006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MX"/>
              <a:t>@amdetur</a:t>
            </a:r>
            <a:endParaRPr lang="es-MX" dirty="0"/>
          </a:p>
        </p:txBody>
      </p:sp>
      <p:sp>
        <p:nvSpPr>
          <p:cNvPr id="14" name="Marcador de texto 24">
            <a:extLst>
              <a:ext uri="{FF2B5EF4-FFF2-40B4-BE49-F238E27FC236}">
                <a16:creationId xmlns:a16="http://schemas.microsoft.com/office/drawing/2014/main" id="{B0439558-82E1-893F-2AC7-51A0675B25D5}"/>
              </a:ext>
            </a:extLst>
          </p:cNvPr>
          <p:cNvSpPr txBox="1">
            <a:spLocks/>
          </p:cNvSpPr>
          <p:nvPr userDrawn="1"/>
        </p:nvSpPr>
        <p:spPr>
          <a:xfrm>
            <a:off x="6668881" y="4952555"/>
            <a:ext cx="4632643" cy="434764"/>
          </a:xfrm>
          <a:prstGeom prst="rect">
            <a:avLst/>
          </a:prstGeom>
        </p:spPr>
        <p:txBody>
          <a:bodyPr>
            <a:noAutofit/>
          </a:bodyPr>
          <a:lstStyle>
            <a:lvl1pPr marL="0" indent="0" algn="r" defTabSz="914400" rtl="0" eaLnBrk="1" latinLnBrk="0" hangingPunct="1">
              <a:lnSpc>
                <a:spcPct val="90000"/>
              </a:lnSpc>
              <a:spcBef>
                <a:spcPts val="1000"/>
              </a:spcBef>
              <a:buFont typeface="Arial" panose="020B0604020202020204" pitchFamily="34" charset="0"/>
              <a:buNone/>
              <a:defRPr sz="1400" kern="1200">
                <a:solidFill>
                  <a:srgbClr val="024B80"/>
                </a:solidFill>
                <a:latin typeface="Poppins Light" panose="00000400000000000000" pitchFamily="2" charset="0"/>
                <a:ea typeface="+mn-ea"/>
                <a:cs typeface="Poppins Light" panose="000004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MX"/>
              <a:t>Torre WTC Ciudad de México. Montecito 38 Piso 32 Oficinas 11-14. Col. Nápoles, Mexico City, Mexico</a:t>
            </a:r>
            <a:endParaRPr lang="es-MX" dirty="0"/>
          </a:p>
        </p:txBody>
      </p:sp>
      <p:pic>
        <p:nvPicPr>
          <p:cNvPr id="3" name="Gráfico 2">
            <a:extLst>
              <a:ext uri="{FF2B5EF4-FFF2-40B4-BE49-F238E27FC236}">
                <a16:creationId xmlns:a16="http://schemas.microsoft.com/office/drawing/2014/main" id="{CA431730-8E65-718B-CED8-C322ADB7C28D}"/>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333958" y="5961327"/>
            <a:ext cx="1697311" cy="789447"/>
          </a:xfrm>
          <a:prstGeom prst="rect">
            <a:avLst/>
          </a:prstGeom>
        </p:spPr>
      </p:pic>
    </p:spTree>
    <p:extLst>
      <p:ext uri="{BB962C8B-B14F-4D97-AF65-F5344CB8AC3E}">
        <p14:creationId xmlns:p14="http://schemas.microsoft.com/office/powerpoint/2010/main" val="24385893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tags" Target="../tags/tag1.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image" Target="../media/image28.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oleObject" Target="../embeddings/oleObject1.bin"/><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560798D6-5444-8363-C87B-ADCA3A0A38B8}"/>
              </a:ext>
            </a:extLst>
          </p:cNvPr>
          <p:cNvSpPr>
            <a:spLocks noGrp="1"/>
          </p:cNvSpPr>
          <p:nvPr>
            <p:ph type="ftr" sz="quarter" idx="3"/>
          </p:nvPr>
        </p:nvSpPr>
        <p:spPr>
          <a:xfrm>
            <a:off x="334963" y="6308725"/>
            <a:ext cx="2141907" cy="288925"/>
          </a:xfrm>
          <a:prstGeom prst="rect">
            <a:avLst/>
          </a:prstGeom>
        </p:spPr>
        <p:txBody>
          <a:bodyPr vert="horz" lIns="91440" tIns="45720" rIns="91440" bIns="45720" rtlCol="0" anchor="ctr"/>
          <a:lstStyle>
            <a:lvl1pPr algn="l">
              <a:defRPr sz="1050">
                <a:solidFill>
                  <a:schemeClr val="bg1">
                    <a:lumMod val="85000"/>
                  </a:schemeClr>
                </a:solidFill>
                <a:latin typeface="+mn-lt"/>
                <a:ea typeface="Inter Tight" pitchFamily="2" charset="0"/>
                <a:cs typeface="Inter Tight" pitchFamily="2" charset="0"/>
              </a:defRPr>
            </a:lvl1pPr>
          </a:lstStyle>
          <a:p>
            <a:r>
              <a:rPr lang="en-ID"/>
              <a:t>www.firesafety.com</a:t>
            </a:r>
            <a:endParaRPr lang="en-ID" dirty="0"/>
          </a:p>
        </p:txBody>
      </p:sp>
      <p:sp>
        <p:nvSpPr>
          <p:cNvPr id="6" name="Slide Number Placeholder 5">
            <a:extLst>
              <a:ext uri="{FF2B5EF4-FFF2-40B4-BE49-F238E27FC236}">
                <a16:creationId xmlns:a16="http://schemas.microsoft.com/office/drawing/2014/main" id="{6320589B-C444-AF69-D658-FA35AA30FB12}"/>
              </a:ext>
            </a:extLst>
          </p:cNvPr>
          <p:cNvSpPr>
            <a:spLocks noGrp="1"/>
          </p:cNvSpPr>
          <p:nvPr>
            <p:ph type="sldNum" sz="quarter" idx="4"/>
          </p:nvPr>
        </p:nvSpPr>
        <p:spPr>
          <a:xfrm>
            <a:off x="11329988" y="6308725"/>
            <a:ext cx="490536" cy="288925"/>
          </a:xfrm>
          <a:prstGeom prst="rect">
            <a:avLst/>
          </a:prstGeom>
        </p:spPr>
        <p:txBody>
          <a:bodyPr vert="horz" lIns="91440" tIns="45720" rIns="91440" bIns="45720" rtlCol="0" anchor="ctr"/>
          <a:lstStyle>
            <a:lvl1pPr algn="r">
              <a:defRPr sz="1800">
                <a:solidFill>
                  <a:schemeClr val="accent1">
                    <a:lumMod val="40000"/>
                    <a:lumOff val="60000"/>
                  </a:schemeClr>
                </a:solidFill>
                <a:latin typeface="+mj-lt"/>
              </a:defRPr>
            </a:lvl1pPr>
          </a:lstStyle>
          <a:p>
            <a:fld id="{7AF7B685-99C5-4D14-8A1B-78456096FA21}" type="slidenum">
              <a:rPr lang="en-ID" smtClean="0"/>
              <a:pPr/>
              <a:t>‹#›</a:t>
            </a:fld>
            <a:endParaRPr lang="en-ID" dirty="0"/>
          </a:p>
        </p:txBody>
      </p:sp>
      <p:sp>
        <p:nvSpPr>
          <p:cNvPr id="8" name="Footer Placeholder 4">
            <a:extLst>
              <a:ext uri="{FF2B5EF4-FFF2-40B4-BE49-F238E27FC236}">
                <a16:creationId xmlns:a16="http://schemas.microsoft.com/office/drawing/2014/main" id="{E34A1456-40C4-6EE4-2600-750E0953C3F8}"/>
              </a:ext>
            </a:extLst>
          </p:cNvPr>
          <p:cNvSpPr txBox="1">
            <a:spLocks/>
          </p:cNvSpPr>
          <p:nvPr userDrawn="1"/>
        </p:nvSpPr>
        <p:spPr>
          <a:xfrm>
            <a:off x="10859262" y="6308725"/>
            <a:ext cx="637413" cy="288925"/>
          </a:xfrm>
          <a:prstGeom prst="rect">
            <a:avLst/>
          </a:prstGeom>
        </p:spPr>
        <p:txBody>
          <a:bodyPr vert="horz" lIns="91440" tIns="45720" rIns="91440" bIns="45720" rtlCol="0" anchor="ctr"/>
          <a:lstStyle>
            <a:defPPr>
              <a:defRPr lang="en-US"/>
            </a:defPPr>
            <a:lvl1pPr marL="0" algn="l" defTabSz="914400" rtl="0" eaLnBrk="1" latinLnBrk="0" hangingPunct="1">
              <a:defRPr sz="1050" kern="1200">
                <a:solidFill>
                  <a:schemeClr val="bg1">
                    <a:lumMod val="85000"/>
                  </a:schemeClr>
                </a:solidFill>
                <a:latin typeface="+mj-lt"/>
                <a:ea typeface="Inter Tight" pitchFamily="2" charset="0"/>
                <a:cs typeface="Inter Tigh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ID" dirty="0">
                <a:latin typeface="+mn-lt"/>
              </a:rPr>
              <a:t>page</a:t>
            </a:r>
          </a:p>
        </p:txBody>
      </p:sp>
    </p:spTree>
    <p:extLst>
      <p:ext uri="{BB962C8B-B14F-4D97-AF65-F5344CB8AC3E}">
        <p14:creationId xmlns:p14="http://schemas.microsoft.com/office/powerpoint/2010/main" val="426538136"/>
      </p:ext>
    </p:extLst>
  </p:cSld>
  <p:clrMap bg1="lt1" tx1="dk1" bg2="lt2" tx2="dk2" accent1="accent1" accent2="accent2" accent3="accent3" accent4="accent4" accent5="accent5" accent6="accent6" hlink="hlink" folHlink="folHlink"/>
  <p:sldLayoutIdLst>
    <p:sldLayoutId id="2147483655" r:id="rId1"/>
    <p:sldLayoutId id="2147483662" r:id="rId2"/>
    <p:sldLayoutId id="2147483666" r:id="rId3"/>
    <p:sldLayoutId id="2147483656" r:id="rId4"/>
    <p:sldLayoutId id="2147483658" r:id="rId5"/>
    <p:sldLayoutId id="2147483659" r:id="rId6"/>
    <p:sldLayoutId id="2147483667" r:id="rId7"/>
    <p:sldLayoutId id="2147483664" r:id="rId8"/>
    <p:sldLayoutId id="2147483657" r:id="rId9"/>
    <p:sldLayoutId id="2147483686" r:id="rId10"/>
    <p:sldLayoutId id="2147483687"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4" pos="438" userDrawn="1">
          <p15:clr>
            <a:srgbClr val="F26B43"/>
          </p15:clr>
        </p15:guide>
        <p15:guide id="5" orient="horz" pos="346" userDrawn="1">
          <p15:clr>
            <a:srgbClr val="F26B43"/>
          </p15:clr>
        </p15:guide>
        <p15:guide id="6" orient="horz" pos="3974" userDrawn="1">
          <p15:clr>
            <a:srgbClr val="F26B43"/>
          </p15:clr>
        </p15:guide>
        <p15:guide id="7" pos="7446" userDrawn="1">
          <p15:clr>
            <a:srgbClr val="F26B43"/>
          </p15:clr>
        </p15:guide>
        <p15:guide id="8" pos="7242" userDrawn="1">
          <p15:clr>
            <a:srgbClr val="F26B43"/>
          </p15:clr>
        </p15:guide>
        <p15:guide id="9" pos="211" userDrawn="1">
          <p15:clr>
            <a:srgbClr val="F26B43"/>
          </p15:clr>
        </p15:guide>
        <p15:guide id="10" orient="horz" pos="164" userDrawn="1">
          <p15:clr>
            <a:srgbClr val="F26B43"/>
          </p15:clr>
        </p15:guide>
        <p15:guide id="11" orient="horz" pos="415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B8F763E-CC50-E06E-80D8-CF79609E112E}"/>
              </a:ext>
            </a:extLst>
          </p:cNvPr>
          <p:cNvGraphicFramePr>
            <a:graphicFrameLocks noChangeAspect="1"/>
          </p:cNvGraphicFramePr>
          <p:nvPr userDrawn="1">
            <p:custDataLst>
              <p:tags r:id="rId18"/>
            </p:custDataLst>
            <p:extLst>
              <p:ext uri="{D42A27DB-BD31-4B8C-83A1-F6EECF244321}">
                <p14:modId xmlns:p14="http://schemas.microsoft.com/office/powerpoint/2010/main" val="2072147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53" imgH="363" progId="TCLayout.ActiveDocument.1">
                  <p:embed/>
                </p:oleObj>
              </mc:Choice>
              <mc:Fallback>
                <p:oleObj name="think-cell Slide" r:id="rId19" imgW="353" imgH="363" progId="TCLayout.ActiveDocument.1">
                  <p:embed/>
                  <p:pic>
                    <p:nvPicPr>
                      <p:cNvPr id="7" name="think-cell data - do not delete" hidden="1">
                        <a:extLst>
                          <a:ext uri="{FF2B5EF4-FFF2-40B4-BE49-F238E27FC236}">
                            <a16:creationId xmlns:a16="http://schemas.microsoft.com/office/drawing/2014/main" id="{9B8F763E-CC50-E06E-80D8-CF79609E112E}"/>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27377CE-7D66-9935-E9B3-E68BD13136C6}"/>
              </a:ext>
            </a:extLst>
          </p:cNvPr>
          <p:cNvSpPr>
            <a:spLocks noGrp="1"/>
          </p:cNvSpPr>
          <p:nvPr>
            <p:ph type="title"/>
          </p:nvPr>
        </p:nvSpPr>
        <p:spPr>
          <a:xfrm>
            <a:off x="550862" y="613507"/>
            <a:ext cx="11090275" cy="369332"/>
          </a:xfrm>
          <a:prstGeom prst="rect">
            <a:avLst/>
          </a:prstGeom>
        </p:spPr>
        <p:txBody>
          <a:bodyPr vert="horz" lIns="0" tIns="0" rIns="0" bIns="0" rtlCol="0" anchor="b">
            <a:no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6C553B37-602D-CBE6-E537-1DDB626EDC63}"/>
              </a:ext>
            </a:extLst>
          </p:cNvPr>
          <p:cNvSpPr>
            <a:spLocks noGrp="1"/>
          </p:cNvSpPr>
          <p:nvPr>
            <p:ph type="body" idx="1"/>
          </p:nvPr>
        </p:nvSpPr>
        <p:spPr>
          <a:xfrm>
            <a:off x="550862" y="1825625"/>
            <a:ext cx="11090275"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Slide Number Placeholder 5">
            <a:extLst>
              <a:ext uri="{FF2B5EF4-FFF2-40B4-BE49-F238E27FC236}">
                <a16:creationId xmlns:a16="http://schemas.microsoft.com/office/drawing/2014/main" id="{F36CE5FE-9EE9-ADEC-9FC4-A63245CB31BA}"/>
              </a:ext>
            </a:extLst>
          </p:cNvPr>
          <p:cNvSpPr>
            <a:spLocks noGrp="1"/>
          </p:cNvSpPr>
          <p:nvPr>
            <p:ph type="sldNum" sz="quarter" idx="4"/>
          </p:nvPr>
        </p:nvSpPr>
        <p:spPr>
          <a:xfrm>
            <a:off x="11087100" y="6564440"/>
            <a:ext cx="554038" cy="138499"/>
          </a:xfrm>
          <a:prstGeom prst="rect">
            <a:avLst/>
          </a:prstGeom>
        </p:spPr>
        <p:txBody>
          <a:bodyPr wrap="square" lIns="0" tIns="0" rIns="0" bIns="0" anchor="ctr">
            <a:normAutofit/>
          </a:bodyPr>
          <a:lstStyle>
            <a:lvl1pPr algn="r">
              <a:defRPr sz="900">
                <a:solidFill>
                  <a:schemeClr val="tx1"/>
                </a:solidFill>
              </a:defRPr>
            </a:lvl1pPr>
          </a:lstStyle>
          <a:p>
            <a:fld id="{0E88EC54-15BE-9740-A323-DA3E96F2F863}" type="slidenum">
              <a:rPr lang="en-US" smtClean="0"/>
              <a:pPr/>
              <a:t>‹#›</a:t>
            </a:fld>
            <a:endParaRPr lang="en-US"/>
          </a:p>
        </p:txBody>
      </p:sp>
    </p:spTree>
    <p:extLst>
      <p:ext uri="{BB962C8B-B14F-4D97-AF65-F5344CB8AC3E}">
        <p14:creationId xmlns:p14="http://schemas.microsoft.com/office/powerpoint/2010/main" val="3918882625"/>
      </p:ext>
    </p:extLst>
  </p:cSld>
  <p:clrMap bg1="dk1" tx1="lt1" bg2="dk2" tx2="lt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683" r:id="rId14"/>
    <p:sldLayoutId id="2147483684" r:id="rId15"/>
    <p:sldLayoutId id="2147483685" r:id="rId16"/>
  </p:sldLayoutIdLst>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3" orient="horz" pos="618">
          <p15:clr>
            <a:srgbClr val="F26B43"/>
          </p15:clr>
        </p15:guide>
        <p15:guide id="4" pos="7333">
          <p15:clr>
            <a:srgbClr val="F26B43"/>
          </p15:clr>
        </p15:guide>
        <p15:guide id="5" pos="347">
          <p15:clr>
            <a:srgbClr val="F26B43"/>
          </p15:clr>
        </p15:guide>
        <p15:guide id="6" orient="horz" pos="4042">
          <p15:clr>
            <a:srgbClr val="F26B43"/>
          </p15:clr>
        </p15:guide>
        <p15:guide id="7" pos="846">
          <p15:clr>
            <a:srgbClr val="F26B43"/>
          </p15:clr>
        </p15:guide>
        <p15:guide id="8" pos="937">
          <p15:clr>
            <a:srgbClr val="F26B43"/>
          </p15:clr>
        </p15:guide>
        <p15:guide id="9" pos="1436">
          <p15:clr>
            <a:srgbClr val="F26B43"/>
          </p15:clr>
        </p15:guide>
        <p15:guide id="10" pos="1527">
          <p15:clr>
            <a:srgbClr val="F26B43"/>
          </p15:clr>
        </p15:guide>
        <p15:guide id="11" pos="2026">
          <p15:clr>
            <a:srgbClr val="F26B43"/>
          </p15:clr>
        </p15:guide>
        <p15:guide id="12" pos="2116">
          <p15:clr>
            <a:srgbClr val="F26B43"/>
          </p15:clr>
        </p15:guide>
        <p15:guide id="13" pos="2615">
          <p15:clr>
            <a:srgbClr val="F26B43"/>
          </p15:clr>
        </p15:guide>
        <p15:guide id="14" pos="2706">
          <p15:clr>
            <a:srgbClr val="F26B43"/>
          </p15:clr>
        </p15:guide>
        <p15:guide id="15" pos="3205">
          <p15:clr>
            <a:srgbClr val="F26B43"/>
          </p15:clr>
        </p15:guide>
        <p15:guide id="16" pos="3296">
          <p15:clr>
            <a:srgbClr val="F26B43"/>
          </p15:clr>
        </p15:guide>
        <p15:guide id="19" pos="4384">
          <p15:clr>
            <a:srgbClr val="F26B43"/>
          </p15:clr>
        </p15:guide>
        <p15:guide id="20" pos="4475">
          <p15:clr>
            <a:srgbClr val="F26B43"/>
          </p15:clr>
        </p15:guide>
        <p15:guide id="21" pos="4974">
          <p15:clr>
            <a:srgbClr val="F26B43"/>
          </p15:clr>
        </p15:guide>
        <p15:guide id="22" pos="5065">
          <p15:clr>
            <a:srgbClr val="F26B43"/>
          </p15:clr>
        </p15:guide>
        <p15:guide id="23" pos="5564">
          <p15:clr>
            <a:srgbClr val="F26B43"/>
          </p15:clr>
        </p15:guide>
        <p15:guide id="24" pos="5654">
          <p15:clr>
            <a:srgbClr val="F26B43"/>
          </p15:clr>
        </p15:guide>
        <p15:guide id="25" pos="6153">
          <p15:clr>
            <a:srgbClr val="F26B43"/>
          </p15:clr>
        </p15:guide>
        <p15:guide id="26" pos="6244">
          <p15:clr>
            <a:srgbClr val="F26B43"/>
          </p15:clr>
        </p15:guide>
        <p15:guide id="27" pos="6743">
          <p15:clr>
            <a:srgbClr val="F26B43"/>
          </p15:clr>
        </p15:guide>
        <p15:guide id="28" pos="6834">
          <p15:clr>
            <a:srgbClr val="F26B43"/>
          </p15:clr>
        </p15:guide>
        <p15:guide id="29"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xml"/><Relationship Id="rId1" Type="http://schemas.openxmlformats.org/officeDocument/2006/relationships/slideLayout" Target="../slideLayouts/slideLayout5.xml"/><Relationship Id="rId5" Type="http://schemas.openxmlformats.org/officeDocument/2006/relationships/hyperlink" Target="https://www.arda.org/research-library/u-s-shared-vacation-ownership-owners-report-2024-edition/" TargetMode="External"/><Relationship Id="rId4" Type="http://schemas.openxmlformats.org/officeDocument/2006/relationships/image" Target="../media/image49.png"/></Relationships>
</file>

<file path=ppt/slides/_rels/slide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9157000E-773F-259F-60D0-25897AA23B4F}"/>
              </a:ext>
            </a:extLst>
          </p:cNvPr>
          <p:cNvSpPr>
            <a:spLocks noGrp="1"/>
          </p:cNvSpPr>
          <p:nvPr>
            <p:ph type="body" sz="quarter" idx="10"/>
          </p:nvPr>
        </p:nvSpPr>
        <p:spPr>
          <a:xfrm>
            <a:off x="1881130" y="4518752"/>
            <a:ext cx="8686800" cy="914400"/>
          </a:xfrm>
        </p:spPr>
        <p:txBody>
          <a:bodyPr/>
          <a:lstStyle/>
          <a:p>
            <a:pPr marL="0" indent="0">
              <a:buNone/>
            </a:pPr>
            <a:r>
              <a:rPr lang="es-MX" sz="1600" b="1" dirty="0"/>
              <a:t>Ximena Villegas</a:t>
            </a:r>
            <a:r>
              <a:rPr lang="es-MX" sz="1200" b="1" dirty="0"/>
              <a:t> </a:t>
            </a:r>
          </a:p>
          <a:p>
            <a:pPr marL="0" indent="0">
              <a:buNone/>
            </a:pPr>
            <a:r>
              <a:rPr lang="es-MX" sz="1200" b="1" dirty="0"/>
              <a:t>AVP Client Sales Interval International México</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1CBF0A-1DD4-1F8E-5C09-65A9B5542DD3}"/>
            </a:ext>
          </a:extLst>
        </p:cNvPr>
        <p:cNvGrpSpPr/>
        <p:nvPr/>
      </p:nvGrpSpPr>
      <p:grpSpPr>
        <a:xfrm>
          <a:off x="0" y="0"/>
          <a:ext cx="0" cy="0"/>
          <a:chOff x="0" y="0"/>
          <a:chExt cx="0" cy="0"/>
        </a:xfrm>
      </p:grpSpPr>
      <p:sp>
        <p:nvSpPr>
          <p:cNvPr id="7" name="Marcador de texto 1">
            <a:extLst>
              <a:ext uri="{FF2B5EF4-FFF2-40B4-BE49-F238E27FC236}">
                <a16:creationId xmlns:a16="http://schemas.microsoft.com/office/drawing/2014/main" id="{FE15B294-2145-E5DF-3ED9-7BD871F1FD10}"/>
              </a:ext>
            </a:extLst>
          </p:cNvPr>
          <p:cNvSpPr txBox="1">
            <a:spLocks/>
          </p:cNvSpPr>
          <p:nvPr/>
        </p:nvSpPr>
        <p:spPr>
          <a:xfrm>
            <a:off x="71526" y="469517"/>
            <a:ext cx="5068429" cy="99332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400" b="1" kern="1200">
                <a:solidFill>
                  <a:srgbClr val="014B7F"/>
                </a:solidFill>
                <a:latin typeface="Poppins" panose="00000500000000000000" pitchFamily="2" charset="0"/>
                <a:ea typeface="+mn-ea"/>
                <a:cs typeface="Poppins" panose="000005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MX" sz="2400"/>
              <a:t>Perfil del Comprador</a:t>
            </a:r>
            <a:endParaRPr lang="es-MX" sz="2400" dirty="0"/>
          </a:p>
        </p:txBody>
      </p:sp>
      <p:sp>
        <p:nvSpPr>
          <p:cNvPr id="6" name="TextBox 5">
            <a:extLst>
              <a:ext uri="{FF2B5EF4-FFF2-40B4-BE49-F238E27FC236}">
                <a16:creationId xmlns:a16="http://schemas.microsoft.com/office/drawing/2014/main" id="{95A03A80-9282-277B-6E85-04740776B02E}"/>
              </a:ext>
            </a:extLst>
          </p:cNvPr>
          <p:cNvSpPr txBox="1"/>
          <p:nvPr/>
        </p:nvSpPr>
        <p:spPr>
          <a:xfrm>
            <a:off x="6335431" y="1896461"/>
            <a:ext cx="4495800" cy="4393254"/>
          </a:xfrm>
          <a:prstGeom prst="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marR="0" lvl="0">
              <a:lnSpc>
                <a:spcPts val="1800"/>
              </a:lnSpc>
              <a:spcAft>
                <a:spcPts val="1200"/>
              </a:spcAft>
              <a:buSzPts val="1000"/>
              <a:tabLst>
                <a:tab pos="457200" algn="l"/>
              </a:tabLst>
            </a:pPr>
            <a:r>
              <a:rPr lang="es-MX" sz="1400" b="1" kern="0" dirty="0">
                <a:solidFill>
                  <a:srgbClr val="0A0A0A"/>
                </a:solidFill>
                <a:effectLst/>
                <a:latin typeface="Aptos Display" panose="020B0004020202020204" pitchFamily="34" charset="0"/>
                <a:ea typeface="Times New Roman" panose="02020603050405020304" pitchFamily="18" charset="0"/>
                <a:cs typeface="Times New Roman" panose="02020603050405020304" pitchFamily="18" charset="0"/>
              </a:rPr>
              <a:t>Compradores de América Latina (especialmente México y Colombia):</a:t>
            </a:r>
            <a:endParaRPr lang="en-US" sz="1400" kern="100" dirty="0">
              <a:solidFill>
                <a:srgbClr val="0A0A0A"/>
              </a:solidFill>
              <a:effectLst/>
              <a:latin typeface="Aptos Display" panose="020B0004020202020204" pitchFamily="34" charset="0"/>
              <a:ea typeface="Aptos" panose="020B0004020202020204" pitchFamily="34" charset="0"/>
              <a:cs typeface="Times New Roman" panose="02020603050405020304" pitchFamily="18" charset="0"/>
            </a:endParaRPr>
          </a:p>
          <a:p>
            <a:pPr marR="0" lvl="1">
              <a:lnSpc>
                <a:spcPts val="1800"/>
              </a:lnSpc>
              <a:spcAft>
                <a:spcPts val="1200"/>
              </a:spcAft>
              <a:buSzPts val="1000"/>
              <a:tabLst>
                <a:tab pos="914400" algn="l"/>
              </a:tabLst>
            </a:pPr>
            <a:r>
              <a:rPr lang="es-MX" sz="1400" b="1" kern="0" dirty="0">
                <a:solidFill>
                  <a:srgbClr val="0A0A0A"/>
                </a:solidFill>
                <a:effectLst/>
                <a:latin typeface="Aptos Display" panose="020B0004020202020204" pitchFamily="34" charset="0"/>
                <a:ea typeface="Times New Roman" panose="02020603050405020304" pitchFamily="18" charset="0"/>
                <a:cs typeface="Times New Roman" panose="02020603050405020304" pitchFamily="18" charset="0"/>
              </a:rPr>
              <a:t>Mercado:</a:t>
            </a:r>
            <a:r>
              <a:rPr lang="es-MX" sz="1400" kern="0" dirty="0">
                <a:solidFill>
                  <a:srgbClr val="0A0A0A"/>
                </a:solidFill>
                <a:effectLst/>
                <a:latin typeface="Aptos Display" panose="020B0004020202020204" pitchFamily="34" charset="0"/>
                <a:ea typeface="Times New Roman" panose="02020603050405020304" pitchFamily="18" charset="0"/>
                <a:cs typeface="Times New Roman" panose="02020603050405020304" pitchFamily="18" charset="0"/>
              </a:rPr>
              <a:t> México tiene un mercado de tiempo compartido muy popular y desarrollado, lo que atrae tanto a compradores nacionales como a extranjeros. En general, los compradores de la región muestran un interés creciente en la propiedad vacacional.</a:t>
            </a:r>
            <a:endParaRPr lang="en-US" sz="1400" kern="100" dirty="0">
              <a:solidFill>
                <a:srgbClr val="0A0A0A"/>
              </a:solidFill>
              <a:effectLst/>
              <a:latin typeface="Aptos Display" panose="020B0004020202020204" pitchFamily="34" charset="0"/>
              <a:ea typeface="Aptos" panose="020B0004020202020204" pitchFamily="34" charset="0"/>
              <a:cs typeface="Times New Roman" panose="02020603050405020304" pitchFamily="18" charset="0"/>
            </a:endParaRPr>
          </a:p>
          <a:p>
            <a:pPr marR="0" lvl="1">
              <a:lnSpc>
                <a:spcPts val="1800"/>
              </a:lnSpc>
              <a:spcAft>
                <a:spcPts val="1200"/>
              </a:spcAft>
              <a:buSzPts val="1000"/>
              <a:tabLst>
                <a:tab pos="914400" algn="l"/>
              </a:tabLst>
            </a:pPr>
            <a:r>
              <a:rPr lang="es-MX" sz="1400" b="1" kern="0" dirty="0">
                <a:solidFill>
                  <a:srgbClr val="0A0A0A"/>
                </a:solidFill>
                <a:effectLst/>
                <a:latin typeface="Aptos Display" panose="020B0004020202020204" pitchFamily="34" charset="0"/>
                <a:ea typeface="Times New Roman" panose="02020603050405020304" pitchFamily="18" charset="0"/>
                <a:cs typeface="Times New Roman" panose="02020603050405020304" pitchFamily="18" charset="0"/>
              </a:rPr>
              <a:t>Nivel socioeconómico:</a:t>
            </a:r>
            <a:r>
              <a:rPr lang="es-MX" sz="1400" kern="0" dirty="0">
                <a:solidFill>
                  <a:srgbClr val="0A0A0A"/>
                </a:solidFill>
                <a:effectLst/>
                <a:latin typeface="Aptos Display" panose="020B0004020202020204" pitchFamily="34" charset="0"/>
                <a:ea typeface="Times New Roman" panose="02020603050405020304" pitchFamily="18" charset="0"/>
                <a:cs typeface="Times New Roman" panose="02020603050405020304" pitchFamily="18" charset="0"/>
              </a:rPr>
              <a:t> En México y otros mercados emergentes, el creciente poder adquisitivo de la clase media alta y alta impulsa la demanda de complejos turísticos de alta calidad.</a:t>
            </a:r>
            <a:endParaRPr lang="en-US" sz="1400" kern="100" dirty="0">
              <a:solidFill>
                <a:srgbClr val="0A0A0A"/>
              </a:solidFill>
              <a:effectLst/>
              <a:latin typeface="Aptos Display" panose="020B0004020202020204" pitchFamily="34" charset="0"/>
              <a:ea typeface="Aptos" panose="020B0004020202020204" pitchFamily="34" charset="0"/>
              <a:cs typeface="Times New Roman" panose="02020603050405020304" pitchFamily="18" charset="0"/>
            </a:endParaRPr>
          </a:p>
          <a:p>
            <a:pPr marR="0" lvl="1">
              <a:lnSpc>
                <a:spcPts val="1800"/>
              </a:lnSpc>
              <a:spcAft>
                <a:spcPts val="1200"/>
              </a:spcAft>
              <a:buSzPts val="1000"/>
              <a:tabLst>
                <a:tab pos="914400" algn="l"/>
              </a:tabLst>
            </a:pPr>
            <a:r>
              <a:rPr lang="es-MX" sz="1400" b="1" kern="0" dirty="0">
                <a:solidFill>
                  <a:srgbClr val="0A0A0A"/>
                </a:solidFill>
                <a:effectLst/>
                <a:latin typeface="Aptos Display" panose="020B0004020202020204" pitchFamily="34" charset="0"/>
                <a:ea typeface="Times New Roman" panose="02020603050405020304" pitchFamily="18" charset="0"/>
                <a:cs typeface="Times New Roman" panose="02020603050405020304" pitchFamily="18" charset="0"/>
              </a:rPr>
              <a:t>Destinos:</a:t>
            </a:r>
            <a:r>
              <a:rPr lang="es-MX" sz="1400" kern="0" dirty="0">
                <a:solidFill>
                  <a:srgbClr val="0A0A0A"/>
                </a:solidFill>
                <a:effectLst/>
                <a:latin typeface="Aptos Display" panose="020B0004020202020204" pitchFamily="34" charset="0"/>
                <a:ea typeface="Times New Roman" panose="02020603050405020304" pitchFamily="18" charset="0"/>
                <a:cs typeface="Times New Roman" panose="02020603050405020304" pitchFamily="18" charset="0"/>
              </a:rPr>
              <a:t> El Caribe mexicano (Cancún y Riviera Maya) es un destino particularmente atractivo para los compradores internacionales y locales</a:t>
            </a:r>
            <a:r>
              <a:rPr lang="es-MX" sz="1400" kern="0" dirty="0">
                <a:solidFill>
                  <a:srgbClr val="0A0A0A"/>
                </a:solidFill>
                <a:latin typeface="Aptos Display" panose="020B0004020202020204" pitchFamily="34" charset="0"/>
                <a:ea typeface="Times New Roman" panose="02020603050405020304" pitchFamily="18" charset="0"/>
                <a:cs typeface="Times New Roman" panose="02020603050405020304" pitchFamily="18" charset="0"/>
              </a:rPr>
              <a:t> así como destinos de lujo y exclusivos como Los Cabos</a:t>
            </a:r>
            <a:endParaRPr lang="es-MX" sz="1400" kern="0" dirty="0">
              <a:solidFill>
                <a:srgbClr val="0A0A0A"/>
              </a:solidFill>
              <a:effectLst/>
              <a:latin typeface="Aptos Display" panose="020B0004020202020204" pitchFamily="34" charset="0"/>
              <a:ea typeface="Times New Roman" panose="02020603050405020304" pitchFamily="18" charset="0"/>
              <a:cs typeface="Times New Roman" panose="02020603050405020304" pitchFamily="18" charset="0"/>
            </a:endParaRPr>
          </a:p>
          <a:p>
            <a:pPr marR="0" lvl="1">
              <a:lnSpc>
                <a:spcPts val="1800"/>
              </a:lnSpc>
              <a:spcAft>
                <a:spcPts val="1200"/>
              </a:spcAft>
              <a:buSzPts val="1000"/>
              <a:tabLst>
                <a:tab pos="914400" algn="l"/>
              </a:tabLst>
            </a:pPr>
            <a:endParaRPr lang="es-MX" sz="1400" kern="0" dirty="0">
              <a:solidFill>
                <a:srgbClr val="0A0A0A"/>
              </a:solidFill>
              <a:effectLst/>
              <a:latin typeface="Aptos Display" panose="020B0004020202020204" pitchFamily="34" charset="0"/>
              <a:ea typeface="Times New Roman" panose="02020603050405020304" pitchFamily="18" charset="0"/>
              <a:cs typeface="Times New Roman" panose="02020603050405020304" pitchFamily="18" charset="0"/>
            </a:endParaRPr>
          </a:p>
        </p:txBody>
      </p:sp>
      <p:sp>
        <p:nvSpPr>
          <p:cNvPr id="10" name="TextBox 9">
            <a:extLst>
              <a:ext uri="{FF2B5EF4-FFF2-40B4-BE49-F238E27FC236}">
                <a16:creationId xmlns:a16="http://schemas.microsoft.com/office/drawing/2014/main" id="{D72C75CC-0054-0143-CD94-6FE2B4FA9374}"/>
              </a:ext>
            </a:extLst>
          </p:cNvPr>
          <p:cNvSpPr txBox="1"/>
          <p:nvPr/>
        </p:nvSpPr>
        <p:spPr>
          <a:xfrm>
            <a:off x="1001431" y="1896461"/>
            <a:ext cx="4495800" cy="4512838"/>
          </a:xfrm>
          <a:prstGeom prst="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lvl="0" algn="just">
              <a:spcAft>
                <a:spcPts val="1200"/>
              </a:spcAft>
              <a:buSzPts val="1000"/>
              <a:tabLst>
                <a:tab pos="457200" algn="l"/>
              </a:tabLst>
            </a:pPr>
            <a:r>
              <a:rPr lang="es-MX" sz="1400" b="1" kern="0" dirty="0">
                <a:solidFill>
                  <a:srgbClr val="0A0A0A"/>
                </a:solidFill>
                <a:latin typeface="Aptos Display" panose="020B0004020202020204" pitchFamily="34" charset="0"/>
                <a:cs typeface="Times New Roman" panose="02020603050405020304" pitchFamily="18" charset="0"/>
              </a:rPr>
              <a:t>Compradores de América del Norte (principalmente EUA y </a:t>
            </a:r>
            <a:r>
              <a:rPr lang="es-MX" sz="1400" b="1" kern="0" dirty="0" err="1">
                <a:solidFill>
                  <a:srgbClr val="0A0A0A"/>
                </a:solidFill>
                <a:latin typeface="Aptos Display" panose="020B0004020202020204" pitchFamily="34" charset="0"/>
                <a:cs typeface="Times New Roman" panose="02020603050405020304" pitchFamily="18" charset="0"/>
              </a:rPr>
              <a:t>Canada</a:t>
            </a:r>
            <a:r>
              <a:rPr lang="es-MX" sz="1400" b="1" kern="0" dirty="0">
                <a:solidFill>
                  <a:srgbClr val="0A0A0A"/>
                </a:solidFill>
                <a:latin typeface="Aptos Display" panose="020B0004020202020204" pitchFamily="34" charset="0"/>
                <a:cs typeface="Times New Roman" panose="02020603050405020304" pitchFamily="18" charset="0"/>
              </a:rPr>
              <a:t>):</a:t>
            </a:r>
            <a:endParaRPr lang="en-US" sz="1400" b="1" kern="0" dirty="0">
              <a:solidFill>
                <a:srgbClr val="0A0A0A"/>
              </a:solidFill>
              <a:latin typeface="Aptos Display" panose="020B0004020202020204" pitchFamily="34" charset="0"/>
              <a:cs typeface="Times New Roman" panose="02020603050405020304" pitchFamily="18" charset="0"/>
            </a:endParaRPr>
          </a:p>
          <a:p>
            <a:pPr lvl="0" algn="just">
              <a:lnSpc>
                <a:spcPts val="1800"/>
              </a:lnSpc>
              <a:spcAft>
                <a:spcPts val="1200"/>
              </a:spcAft>
              <a:buSzPts val="1000"/>
              <a:tabLst>
                <a:tab pos="457200" algn="l"/>
              </a:tabLst>
            </a:pPr>
            <a:r>
              <a:rPr lang="es-MX" sz="1400" b="1" kern="0" dirty="0">
                <a:solidFill>
                  <a:srgbClr val="0A0A0A"/>
                </a:solidFill>
                <a:latin typeface="Aptos Display" panose="020B0004020202020204" pitchFamily="34" charset="0"/>
                <a:cs typeface="Times New Roman" panose="02020603050405020304" pitchFamily="18" charset="0"/>
              </a:rPr>
              <a:t>	Nivel socioeconómico: </a:t>
            </a:r>
            <a:r>
              <a:rPr lang="es-MX" sz="1400" kern="0" dirty="0">
                <a:solidFill>
                  <a:srgbClr val="0A0A0A"/>
                </a:solidFill>
                <a:latin typeface="Aptos Display" panose="020B0004020202020204" pitchFamily="34" charset="0"/>
                <a:cs typeface="Times New Roman" panose="02020603050405020304" pitchFamily="18" charset="0"/>
              </a:rPr>
              <a:t>Tradicionalmente, la base 	de compradores de propiedad vacacional ha sido 	de clase media-alta, pero los clubes de lujo se 	dirigen específicamente a clientes con un 	patrimonio neto de varios millones de dólares.</a:t>
            </a:r>
            <a:endParaRPr lang="en-US" sz="1400" kern="0" dirty="0">
              <a:solidFill>
                <a:srgbClr val="0A0A0A"/>
              </a:solidFill>
              <a:latin typeface="Aptos Display" panose="020B0004020202020204" pitchFamily="34" charset="0"/>
              <a:cs typeface="Times New Roman" panose="02020603050405020304" pitchFamily="18" charset="0"/>
            </a:endParaRPr>
          </a:p>
          <a:p>
            <a:pPr lvl="0" algn="just">
              <a:lnSpc>
                <a:spcPts val="1800"/>
              </a:lnSpc>
              <a:spcAft>
                <a:spcPts val="1200"/>
              </a:spcAft>
              <a:buSzPts val="1000"/>
              <a:tabLst>
                <a:tab pos="457200" algn="l"/>
              </a:tabLst>
            </a:pPr>
            <a:r>
              <a:rPr lang="es-MX" sz="1400" b="1" kern="0" dirty="0">
                <a:solidFill>
                  <a:srgbClr val="0A0A0A"/>
                </a:solidFill>
                <a:latin typeface="Aptos Display" panose="020B0004020202020204" pitchFamily="34" charset="0"/>
                <a:cs typeface="Times New Roman" panose="02020603050405020304" pitchFamily="18" charset="0"/>
              </a:rPr>
              <a:t>	Tendencias: </a:t>
            </a:r>
            <a:r>
              <a:rPr lang="es-MX" sz="1400" kern="0" dirty="0">
                <a:solidFill>
                  <a:srgbClr val="0A0A0A"/>
                </a:solidFill>
                <a:latin typeface="Aptos Display" panose="020B0004020202020204" pitchFamily="34" charset="0"/>
                <a:cs typeface="Times New Roman" panose="02020603050405020304" pitchFamily="18" charset="0"/>
              </a:rPr>
              <a:t>Buscan experiencias de lujo y 	comodidades exclusivas. El mercado 	norteamericano es el más grande y consolidado, 	con una fuerte demanda de soluciones de viaje 	accesibles.</a:t>
            </a:r>
            <a:endParaRPr lang="en-US" sz="1400" kern="0" dirty="0">
              <a:solidFill>
                <a:srgbClr val="0A0A0A"/>
              </a:solidFill>
              <a:latin typeface="Aptos Display" panose="020B0004020202020204" pitchFamily="34" charset="0"/>
              <a:cs typeface="Times New Roman" panose="02020603050405020304" pitchFamily="18" charset="0"/>
            </a:endParaRPr>
          </a:p>
          <a:p>
            <a:pPr lvl="0" algn="just">
              <a:lnSpc>
                <a:spcPts val="1800"/>
              </a:lnSpc>
              <a:spcAft>
                <a:spcPts val="1200"/>
              </a:spcAft>
              <a:buSzPts val="1000"/>
              <a:tabLst>
                <a:tab pos="457200" algn="l"/>
              </a:tabLst>
            </a:pPr>
            <a:r>
              <a:rPr lang="es-MX" sz="1400" b="1" kern="0" dirty="0">
                <a:solidFill>
                  <a:srgbClr val="0A0A0A"/>
                </a:solidFill>
                <a:latin typeface="Aptos Display" panose="020B0004020202020204" pitchFamily="34" charset="0"/>
                <a:cs typeface="Times New Roman" panose="02020603050405020304" pitchFamily="18" charset="0"/>
              </a:rPr>
              <a:t>	Destinos: </a:t>
            </a:r>
            <a:r>
              <a:rPr lang="es-MX" sz="1400" kern="0" dirty="0">
                <a:solidFill>
                  <a:srgbClr val="0A0A0A"/>
                </a:solidFill>
                <a:latin typeface="Aptos Display" panose="020B0004020202020204" pitchFamily="34" charset="0"/>
                <a:cs typeface="Times New Roman" panose="02020603050405020304" pitchFamily="18" charset="0"/>
              </a:rPr>
              <a:t>Prefieren destinos en el Caribe y 	México, además de complejos turísticos en los 	Estados Unidos.</a:t>
            </a:r>
          </a:p>
          <a:p>
            <a:pPr marR="0" lvl="0" algn="just">
              <a:lnSpc>
                <a:spcPts val="1800"/>
              </a:lnSpc>
              <a:spcAft>
                <a:spcPts val="1200"/>
              </a:spcAft>
              <a:buSzPts val="1000"/>
              <a:tabLst>
                <a:tab pos="457200" algn="l"/>
              </a:tabLst>
            </a:pPr>
            <a:endParaRPr lang="es-MX" sz="1300" kern="100" dirty="0">
              <a:solidFill>
                <a:schemeClr val="tx1"/>
              </a:solidFill>
              <a:latin typeface="Aptos Display" panose="020B0004020202020204" pitchFamily="34" charset="0"/>
              <a:ea typeface="Aptos" panose="020B0004020202020204" pitchFamily="34" charset="0"/>
              <a:cs typeface="Times New Roman" panose="02020603050405020304" pitchFamily="18" charset="0"/>
            </a:endParaRPr>
          </a:p>
        </p:txBody>
      </p:sp>
      <p:sp>
        <p:nvSpPr>
          <p:cNvPr id="12" name="TextBox 11">
            <a:extLst>
              <a:ext uri="{FF2B5EF4-FFF2-40B4-BE49-F238E27FC236}">
                <a16:creationId xmlns:a16="http://schemas.microsoft.com/office/drawing/2014/main" id="{61F631AB-1E10-19D8-7280-A27D524872C2}"/>
              </a:ext>
            </a:extLst>
          </p:cNvPr>
          <p:cNvSpPr txBox="1"/>
          <p:nvPr/>
        </p:nvSpPr>
        <p:spPr>
          <a:xfrm>
            <a:off x="434695" y="1093506"/>
            <a:ext cx="6148386" cy="369332"/>
          </a:xfrm>
          <a:prstGeom prst="rect">
            <a:avLst/>
          </a:prstGeom>
          <a:noFill/>
        </p:spPr>
        <p:txBody>
          <a:bodyPr wrap="square">
            <a:spAutoFit/>
          </a:bodyPr>
          <a:lstStyle/>
          <a:p>
            <a:r>
              <a:rPr lang="en-US" sz="1800" b="1" kern="100" dirty="0">
                <a:effectLst/>
                <a:ea typeface="Aptos" panose="020B0004020202020204" pitchFamily="34" charset="0"/>
                <a:cs typeface="Times New Roman" panose="02020603050405020304" pitchFamily="18" charset="0"/>
              </a:rPr>
              <a:t>Por </a:t>
            </a:r>
            <a:r>
              <a:rPr lang="en-US" sz="1800" b="1" kern="100" dirty="0" err="1">
                <a:effectLst/>
                <a:ea typeface="Aptos" panose="020B0004020202020204" pitchFamily="34" charset="0"/>
                <a:cs typeface="Times New Roman" panose="02020603050405020304" pitchFamily="18" charset="0"/>
              </a:rPr>
              <a:t>Nacionalidad</a:t>
            </a:r>
            <a:endParaRPr lang="en-US" dirty="0"/>
          </a:p>
        </p:txBody>
      </p:sp>
      <p:pic>
        <p:nvPicPr>
          <p:cNvPr id="3" name="Picture 2">
            <a:extLst>
              <a:ext uri="{FF2B5EF4-FFF2-40B4-BE49-F238E27FC236}">
                <a16:creationId xmlns:a16="http://schemas.microsoft.com/office/drawing/2014/main" id="{FEB792A5-F59B-59EA-E603-686526EDB01F}"/>
              </a:ext>
            </a:extLst>
          </p:cNvPr>
          <p:cNvPicPr>
            <a:picLocks noChangeAspect="1"/>
          </p:cNvPicPr>
          <p:nvPr/>
        </p:nvPicPr>
        <p:blipFill>
          <a:blip r:embed="rId2">
            <a:alphaModFix amt="10000"/>
          </a:blip>
          <a:stretch>
            <a:fillRect/>
          </a:stretch>
        </p:blipFill>
        <p:spPr>
          <a:xfrm>
            <a:off x="3428194" y="1203741"/>
            <a:ext cx="5505733" cy="5346975"/>
          </a:xfrm>
          <a:prstGeom prst="rect">
            <a:avLst/>
          </a:prstGeom>
        </p:spPr>
      </p:pic>
    </p:spTree>
    <p:extLst>
      <p:ext uri="{BB962C8B-B14F-4D97-AF65-F5344CB8AC3E}">
        <p14:creationId xmlns:p14="http://schemas.microsoft.com/office/powerpoint/2010/main" val="24764362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A639AE-78ED-D024-067D-1701E007E4FD}"/>
            </a:ext>
          </a:extLst>
        </p:cNvPr>
        <p:cNvGrpSpPr/>
        <p:nvPr/>
      </p:nvGrpSpPr>
      <p:grpSpPr>
        <a:xfrm>
          <a:off x="0" y="0"/>
          <a:ext cx="0" cy="0"/>
          <a:chOff x="0" y="0"/>
          <a:chExt cx="0" cy="0"/>
        </a:xfrm>
      </p:grpSpPr>
      <p:sp>
        <p:nvSpPr>
          <p:cNvPr id="7" name="Marcador de texto 1">
            <a:extLst>
              <a:ext uri="{FF2B5EF4-FFF2-40B4-BE49-F238E27FC236}">
                <a16:creationId xmlns:a16="http://schemas.microsoft.com/office/drawing/2014/main" id="{430101AD-D5F7-EAD1-A5C6-0A756DB8A0CB}"/>
              </a:ext>
            </a:extLst>
          </p:cNvPr>
          <p:cNvSpPr txBox="1">
            <a:spLocks/>
          </p:cNvSpPr>
          <p:nvPr/>
        </p:nvSpPr>
        <p:spPr>
          <a:xfrm>
            <a:off x="71526" y="469517"/>
            <a:ext cx="5068429" cy="99332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400" b="1" kern="1200">
                <a:solidFill>
                  <a:srgbClr val="014B7F"/>
                </a:solidFill>
                <a:latin typeface="Poppins" panose="00000500000000000000" pitchFamily="2" charset="0"/>
                <a:ea typeface="+mn-ea"/>
                <a:cs typeface="Poppins" panose="000005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MX" sz="2400"/>
              <a:t>Perfil del Comprador</a:t>
            </a:r>
            <a:endParaRPr lang="es-MX" sz="2400" dirty="0"/>
          </a:p>
        </p:txBody>
      </p:sp>
      <p:sp>
        <p:nvSpPr>
          <p:cNvPr id="10" name="TextBox 9">
            <a:extLst>
              <a:ext uri="{FF2B5EF4-FFF2-40B4-BE49-F238E27FC236}">
                <a16:creationId xmlns:a16="http://schemas.microsoft.com/office/drawing/2014/main" id="{17FE4E4A-DC85-A5AA-4036-9B71BE33C4B6}"/>
              </a:ext>
            </a:extLst>
          </p:cNvPr>
          <p:cNvSpPr txBox="1"/>
          <p:nvPr/>
        </p:nvSpPr>
        <p:spPr>
          <a:xfrm>
            <a:off x="878958" y="1953546"/>
            <a:ext cx="5061098" cy="3316036"/>
          </a:xfrm>
          <a:prstGeom prst="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marR="0" lvl="0" algn="just">
              <a:lnSpc>
                <a:spcPts val="1800"/>
              </a:lnSpc>
              <a:spcAft>
                <a:spcPts val="1200"/>
              </a:spcAft>
              <a:buSzPts val="1000"/>
              <a:tabLst>
                <a:tab pos="457200" algn="l"/>
              </a:tabLst>
            </a:pPr>
            <a:r>
              <a:rPr lang="en-US" sz="1400" b="1" kern="0" dirty="0" err="1">
                <a:solidFill>
                  <a:srgbClr val="0A0A0A"/>
                </a:solidFill>
                <a:latin typeface="Aptos Display" panose="020B0004020202020204" pitchFamily="34" charset="0"/>
                <a:ea typeface="Times New Roman" panose="02020603050405020304" pitchFamily="18" charset="0"/>
                <a:cs typeface="Times New Roman" panose="02020603050405020304" pitchFamily="18" charset="0"/>
              </a:rPr>
              <a:t>Compradores</a:t>
            </a:r>
            <a:r>
              <a:rPr lang="en-US" sz="1400" b="1" kern="0" dirty="0">
                <a:solidFill>
                  <a:srgbClr val="0A0A0A"/>
                </a:solidFill>
                <a:latin typeface="Aptos Display" panose="020B0004020202020204" pitchFamily="34" charset="0"/>
                <a:ea typeface="Times New Roman" panose="02020603050405020304" pitchFamily="18" charset="0"/>
                <a:cs typeface="Times New Roman" panose="02020603050405020304" pitchFamily="18" charset="0"/>
              </a:rPr>
              <a:t> Europeos: </a:t>
            </a:r>
          </a:p>
          <a:p>
            <a:pPr marR="0" lvl="0" algn="just">
              <a:lnSpc>
                <a:spcPts val="1800"/>
              </a:lnSpc>
              <a:spcAft>
                <a:spcPts val="1200"/>
              </a:spcAft>
              <a:buSzPts val="1000"/>
              <a:tabLst>
                <a:tab pos="457200" algn="l"/>
              </a:tabLst>
            </a:pPr>
            <a:r>
              <a:rPr lang="en-US" sz="1400" b="1" kern="0" dirty="0">
                <a:solidFill>
                  <a:srgbClr val="0A0A0A"/>
                </a:solidFill>
                <a:latin typeface="Aptos Display" panose="020B0004020202020204" pitchFamily="34" charset="0"/>
                <a:ea typeface="Times New Roman" panose="02020603050405020304" pitchFamily="18" charset="0"/>
                <a:cs typeface="Times New Roman" panose="02020603050405020304" pitchFamily="18" charset="0"/>
              </a:rPr>
              <a:t>	</a:t>
            </a:r>
            <a:r>
              <a:rPr lang="es-MX" sz="1400" b="1" kern="0" dirty="0">
                <a:solidFill>
                  <a:srgbClr val="0A0A0A"/>
                </a:solidFill>
                <a:latin typeface="Aptos Display" panose="020B0004020202020204" pitchFamily="34" charset="0"/>
                <a:ea typeface="Times New Roman" panose="02020603050405020304" pitchFamily="18" charset="0"/>
                <a:cs typeface="Times New Roman" panose="02020603050405020304" pitchFamily="18" charset="0"/>
              </a:rPr>
              <a:t>Mercado:</a:t>
            </a:r>
            <a:r>
              <a:rPr lang="es-MX" sz="1400" kern="0" dirty="0">
                <a:solidFill>
                  <a:srgbClr val="0A0A0A"/>
                </a:solidFill>
                <a:latin typeface="Aptos Display" panose="020B0004020202020204" pitchFamily="34" charset="0"/>
                <a:ea typeface="Times New Roman" panose="02020603050405020304" pitchFamily="18" charset="0"/>
                <a:cs typeface="Times New Roman" panose="02020603050405020304" pitchFamily="18" charset="0"/>
              </a:rPr>
              <a:t> S</a:t>
            </a:r>
            <a:r>
              <a:rPr lang="es-ES" sz="1400" kern="0" dirty="0" err="1">
                <a:solidFill>
                  <a:srgbClr val="0A0A0A"/>
                </a:solidFill>
                <a:latin typeface="Aptos Display" panose="020B0004020202020204" pitchFamily="34" charset="0"/>
                <a:cs typeface="Times New Roman" panose="02020603050405020304" pitchFamily="18" charset="0"/>
              </a:rPr>
              <a:t>uelen</a:t>
            </a:r>
            <a:r>
              <a:rPr lang="es-ES" sz="1400" kern="0" dirty="0">
                <a:solidFill>
                  <a:srgbClr val="0A0A0A"/>
                </a:solidFill>
                <a:latin typeface="Aptos Display" panose="020B0004020202020204" pitchFamily="34" charset="0"/>
                <a:cs typeface="Times New Roman" panose="02020603050405020304" pitchFamily="18" charset="0"/>
              </a:rPr>
              <a:t> ser viajeros con experiencia que 	buscan un equilibrio entre el lujo, la flexibilidad y la 	inversión a largo plazo.</a:t>
            </a:r>
          </a:p>
          <a:p>
            <a:pPr marR="0" lvl="0" algn="just">
              <a:lnSpc>
                <a:spcPts val="1800"/>
              </a:lnSpc>
              <a:spcAft>
                <a:spcPts val="1200"/>
              </a:spcAft>
              <a:buSzPts val="1000"/>
              <a:tabLst>
                <a:tab pos="457200" algn="l"/>
              </a:tabLst>
            </a:pPr>
            <a:r>
              <a:rPr lang="es-MX" sz="1400" b="1" kern="0" dirty="0">
                <a:solidFill>
                  <a:srgbClr val="0A0A0A"/>
                </a:solidFill>
                <a:latin typeface="Aptos Display" panose="020B0004020202020204" pitchFamily="34" charset="0"/>
                <a:ea typeface="Times New Roman" panose="02020603050405020304" pitchFamily="18" charset="0"/>
                <a:cs typeface="Times New Roman" panose="02020603050405020304" pitchFamily="18" charset="0"/>
              </a:rPr>
              <a:t>	Nivel socioeconómico:</a:t>
            </a:r>
            <a:r>
              <a:rPr lang="es-MX" sz="1400" kern="0" dirty="0">
                <a:solidFill>
                  <a:srgbClr val="0A0A0A"/>
                </a:solidFill>
                <a:latin typeface="Aptos Display" panose="020B0004020202020204" pitchFamily="34" charset="0"/>
                <a:ea typeface="Times New Roman" panose="02020603050405020304" pitchFamily="18" charset="0"/>
                <a:cs typeface="Times New Roman" panose="02020603050405020304" pitchFamily="18" charset="0"/>
              </a:rPr>
              <a:t> </a:t>
            </a:r>
            <a:r>
              <a:rPr lang="es-ES" sz="1400" kern="0" dirty="0">
                <a:solidFill>
                  <a:srgbClr val="0A0A0A"/>
                </a:solidFill>
                <a:latin typeface="Aptos Display" panose="020B0004020202020204" pitchFamily="34" charset="0"/>
                <a:cs typeface="Times New Roman" panose="02020603050405020304" pitchFamily="18" charset="0"/>
              </a:rPr>
              <a:t>Son sensibles al valor de su 	dinero, la solidez de sus monedas hace que 	vean una 	inversión en calidad de vida garantizando 	vacaciones 	futuras. Aprecian la seguridad que ofrecen los 	desarrollos de marcas hoteleras reconocidas.</a:t>
            </a:r>
            <a:endParaRPr lang="en-US" sz="1400" kern="0" dirty="0">
              <a:solidFill>
                <a:srgbClr val="0A0A0A"/>
              </a:solidFill>
              <a:latin typeface="Aptos Display" panose="020B0004020202020204" pitchFamily="34" charset="0"/>
              <a:cs typeface="Times New Roman" panose="02020603050405020304" pitchFamily="18" charset="0"/>
            </a:endParaRPr>
          </a:p>
          <a:p>
            <a:pPr marR="0" lvl="1" algn="just">
              <a:lnSpc>
                <a:spcPts val="1800"/>
              </a:lnSpc>
              <a:spcAft>
                <a:spcPts val="1200"/>
              </a:spcAft>
              <a:buSzPts val="1000"/>
              <a:tabLst>
                <a:tab pos="914400" algn="l"/>
              </a:tabLst>
            </a:pPr>
            <a:r>
              <a:rPr lang="es-MX" sz="1400" b="1" kern="0" dirty="0">
                <a:solidFill>
                  <a:srgbClr val="0A0A0A"/>
                </a:solidFill>
                <a:latin typeface="Aptos Display" panose="020B0004020202020204" pitchFamily="34" charset="0"/>
                <a:ea typeface="Times New Roman" panose="02020603050405020304" pitchFamily="18" charset="0"/>
                <a:cs typeface="Times New Roman" panose="02020603050405020304" pitchFamily="18" charset="0"/>
              </a:rPr>
              <a:t>Tendencias:</a:t>
            </a:r>
            <a:r>
              <a:rPr lang="es-MX" sz="1400" kern="0" dirty="0">
                <a:solidFill>
                  <a:srgbClr val="0A0A0A"/>
                </a:solidFill>
                <a:latin typeface="Aptos Display" panose="020B0004020202020204" pitchFamily="34" charset="0"/>
                <a:ea typeface="Times New Roman" panose="02020603050405020304" pitchFamily="18" charset="0"/>
                <a:cs typeface="Times New Roman" panose="02020603050405020304" pitchFamily="18" charset="0"/>
              </a:rPr>
              <a:t> Alto interés</a:t>
            </a:r>
            <a:r>
              <a:rPr lang="es-ES" sz="1400" kern="0" dirty="0">
                <a:solidFill>
                  <a:srgbClr val="0A0A0A"/>
                </a:solidFill>
                <a:latin typeface="Aptos Display" panose="020B0004020202020204" pitchFamily="34" charset="0"/>
                <a:cs typeface="Times New Roman" panose="02020603050405020304" pitchFamily="18" charset="0"/>
              </a:rPr>
              <a:t> en los destinos de playa y marcan fuerte tendencia por unas vacaciones de "todo incluido" que simplifica su planificación y presupuesto vacacional.</a:t>
            </a:r>
            <a:endParaRPr lang="es-MX" sz="1400" kern="100" dirty="0">
              <a:solidFill>
                <a:schemeClr val="tx1"/>
              </a:solidFill>
              <a:latin typeface="Aptos Display" panose="020B0004020202020204" pitchFamily="34" charset="0"/>
              <a:ea typeface="Aptos" panose="020B0004020202020204" pitchFamily="34" charset="0"/>
              <a:cs typeface="Times New Roman" panose="02020603050405020304" pitchFamily="18" charset="0"/>
            </a:endParaRPr>
          </a:p>
        </p:txBody>
      </p:sp>
      <p:sp>
        <p:nvSpPr>
          <p:cNvPr id="12" name="TextBox 11">
            <a:extLst>
              <a:ext uri="{FF2B5EF4-FFF2-40B4-BE49-F238E27FC236}">
                <a16:creationId xmlns:a16="http://schemas.microsoft.com/office/drawing/2014/main" id="{CC1A3107-A1B8-2799-1EB5-507D6EECD4AD}"/>
              </a:ext>
            </a:extLst>
          </p:cNvPr>
          <p:cNvSpPr txBox="1"/>
          <p:nvPr/>
        </p:nvSpPr>
        <p:spPr>
          <a:xfrm>
            <a:off x="434695" y="1221102"/>
            <a:ext cx="6148386" cy="369332"/>
          </a:xfrm>
          <a:prstGeom prst="rect">
            <a:avLst/>
          </a:prstGeom>
          <a:noFill/>
        </p:spPr>
        <p:txBody>
          <a:bodyPr wrap="square">
            <a:spAutoFit/>
          </a:bodyPr>
          <a:lstStyle/>
          <a:p>
            <a:r>
              <a:rPr lang="en-US" sz="1800" b="1" kern="100" dirty="0">
                <a:effectLst/>
                <a:latin typeface="Aptos" panose="020B0004020202020204" pitchFamily="34" charset="0"/>
                <a:ea typeface="Aptos" panose="020B0004020202020204" pitchFamily="34" charset="0"/>
                <a:cs typeface="Times New Roman" panose="02020603050405020304" pitchFamily="18" charset="0"/>
              </a:rPr>
              <a:t>Por </a:t>
            </a:r>
            <a:r>
              <a:rPr lang="en-US" sz="1800" b="1" kern="100" dirty="0" err="1">
                <a:effectLst/>
                <a:latin typeface="Aptos" panose="020B0004020202020204" pitchFamily="34" charset="0"/>
                <a:ea typeface="Aptos" panose="020B0004020202020204" pitchFamily="34" charset="0"/>
                <a:cs typeface="Times New Roman" panose="02020603050405020304" pitchFamily="18" charset="0"/>
              </a:rPr>
              <a:t>Nacionalidad</a:t>
            </a:r>
            <a:endParaRPr lang="en-US" dirty="0"/>
          </a:p>
        </p:txBody>
      </p:sp>
      <p:sp>
        <p:nvSpPr>
          <p:cNvPr id="2" name="TextBox 1">
            <a:extLst>
              <a:ext uri="{FF2B5EF4-FFF2-40B4-BE49-F238E27FC236}">
                <a16:creationId xmlns:a16="http://schemas.microsoft.com/office/drawing/2014/main" id="{D4F21E28-3FAD-50F1-574B-E3F66E94DDB9}"/>
              </a:ext>
            </a:extLst>
          </p:cNvPr>
          <p:cNvSpPr txBox="1"/>
          <p:nvPr/>
        </p:nvSpPr>
        <p:spPr>
          <a:xfrm>
            <a:off x="6390537" y="1953546"/>
            <a:ext cx="5061098" cy="3239092"/>
          </a:xfrm>
          <a:prstGeom prst="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marR="0" lvl="0" algn="just">
              <a:lnSpc>
                <a:spcPts val="1800"/>
              </a:lnSpc>
              <a:spcAft>
                <a:spcPts val="1200"/>
              </a:spcAft>
              <a:buSzPts val="1000"/>
              <a:tabLst>
                <a:tab pos="457200" algn="l"/>
              </a:tabLst>
            </a:pPr>
            <a:r>
              <a:rPr lang="en-US" sz="1400" b="1" kern="0" dirty="0" err="1">
                <a:solidFill>
                  <a:srgbClr val="0A0A0A"/>
                </a:solidFill>
                <a:latin typeface="Aptos Display" panose="020B0004020202020204" pitchFamily="34" charset="0"/>
                <a:ea typeface="Times New Roman" panose="02020603050405020304" pitchFamily="18" charset="0"/>
                <a:cs typeface="Times New Roman" panose="02020603050405020304" pitchFamily="18" charset="0"/>
              </a:rPr>
              <a:t>Compradores</a:t>
            </a:r>
            <a:r>
              <a:rPr lang="en-US" sz="1400" b="1" kern="0" dirty="0">
                <a:solidFill>
                  <a:srgbClr val="0A0A0A"/>
                </a:solidFill>
                <a:latin typeface="Aptos Display" panose="020B0004020202020204" pitchFamily="34" charset="0"/>
                <a:ea typeface="Times New Roman" panose="02020603050405020304" pitchFamily="18" charset="0"/>
                <a:cs typeface="Times New Roman" panose="02020603050405020304" pitchFamily="18" charset="0"/>
              </a:rPr>
              <a:t> de Asia-</a:t>
            </a:r>
            <a:r>
              <a:rPr lang="en-US" sz="1400" b="1" kern="0" dirty="0" err="1">
                <a:solidFill>
                  <a:srgbClr val="0A0A0A"/>
                </a:solidFill>
                <a:latin typeface="Aptos Display" panose="020B0004020202020204" pitchFamily="34" charset="0"/>
                <a:ea typeface="Times New Roman" panose="02020603050405020304" pitchFamily="18" charset="0"/>
                <a:cs typeface="Times New Roman" panose="02020603050405020304" pitchFamily="18" charset="0"/>
              </a:rPr>
              <a:t>Pacífico</a:t>
            </a:r>
            <a:r>
              <a:rPr lang="en-US" sz="1400" b="1" kern="0" dirty="0">
                <a:solidFill>
                  <a:srgbClr val="0A0A0A"/>
                </a:solidFill>
                <a:latin typeface="Aptos Display" panose="020B0004020202020204" pitchFamily="34" charset="0"/>
                <a:ea typeface="Times New Roman" panose="02020603050405020304" pitchFamily="18" charset="0"/>
                <a:cs typeface="Times New Roman" panose="02020603050405020304" pitchFamily="18" charset="0"/>
              </a:rPr>
              <a:t>:</a:t>
            </a:r>
            <a:endParaRPr lang="en-US" sz="1400" kern="100" dirty="0">
              <a:solidFill>
                <a:srgbClr val="0A0A0A"/>
              </a:solidFill>
              <a:latin typeface="Aptos Display" panose="020B0004020202020204" pitchFamily="34" charset="0"/>
              <a:ea typeface="Aptos" panose="020B0004020202020204" pitchFamily="34" charset="0"/>
              <a:cs typeface="Times New Roman" panose="02020603050405020304" pitchFamily="18" charset="0"/>
            </a:endParaRPr>
          </a:p>
          <a:p>
            <a:pPr marR="0" lvl="1" algn="just">
              <a:lnSpc>
                <a:spcPts val="1800"/>
              </a:lnSpc>
              <a:spcAft>
                <a:spcPts val="1200"/>
              </a:spcAft>
              <a:buSzPts val="1000"/>
              <a:tabLst>
                <a:tab pos="914400" algn="l"/>
              </a:tabLst>
            </a:pPr>
            <a:r>
              <a:rPr lang="es-MX" sz="1400" b="1" kern="0" dirty="0">
                <a:solidFill>
                  <a:srgbClr val="0A0A0A"/>
                </a:solidFill>
                <a:latin typeface="Aptos Display" panose="020B0004020202020204" pitchFamily="34" charset="0"/>
                <a:ea typeface="Times New Roman" panose="02020603050405020304" pitchFamily="18" charset="0"/>
                <a:cs typeface="Times New Roman" panose="02020603050405020304" pitchFamily="18" charset="0"/>
              </a:rPr>
              <a:t>Mercado:</a:t>
            </a:r>
            <a:r>
              <a:rPr lang="es-MX" sz="1400" kern="0" dirty="0">
                <a:solidFill>
                  <a:srgbClr val="0A0A0A"/>
                </a:solidFill>
                <a:latin typeface="Aptos Display" panose="020B0004020202020204" pitchFamily="34" charset="0"/>
                <a:ea typeface="Times New Roman" panose="02020603050405020304" pitchFamily="18" charset="0"/>
                <a:cs typeface="Times New Roman" panose="02020603050405020304" pitchFamily="18" charset="0"/>
              </a:rPr>
              <a:t> Esta es una de las regiones con mayor crecimiento en el sector de la propiedad vacacional. Países como China, India, Japón y los del sudeste asiático impulsan la demanda.</a:t>
            </a:r>
            <a:endParaRPr lang="en-US" sz="1400" kern="100" dirty="0">
              <a:solidFill>
                <a:srgbClr val="0A0A0A"/>
              </a:solidFill>
              <a:latin typeface="Aptos Display" panose="020B0004020202020204" pitchFamily="34" charset="0"/>
              <a:ea typeface="Aptos" panose="020B0004020202020204" pitchFamily="34" charset="0"/>
              <a:cs typeface="Times New Roman" panose="02020603050405020304" pitchFamily="18" charset="0"/>
            </a:endParaRPr>
          </a:p>
          <a:p>
            <a:pPr marR="0" lvl="1" algn="just">
              <a:lnSpc>
                <a:spcPts val="1800"/>
              </a:lnSpc>
              <a:spcAft>
                <a:spcPts val="1200"/>
              </a:spcAft>
              <a:buSzPts val="1000"/>
              <a:tabLst>
                <a:tab pos="914400" algn="l"/>
              </a:tabLst>
            </a:pPr>
            <a:r>
              <a:rPr lang="es-MX" sz="1400" b="1" kern="0" dirty="0">
                <a:solidFill>
                  <a:srgbClr val="0A0A0A"/>
                </a:solidFill>
                <a:latin typeface="Aptos Display" panose="020B0004020202020204" pitchFamily="34" charset="0"/>
                <a:ea typeface="Times New Roman" panose="02020603050405020304" pitchFamily="18" charset="0"/>
                <a:cs typeface="Times New Roman" panose="02020603050405020304" pitchFamily="18" charset="0"/>
              </a:rPr>
              <a:t>Nivel socioeconómico:</a:t>
            </a:r>
            <a:r>
              <a:rPr lang="es-MX" sz="1400" kern="0" dirty="0">
                <a:solidFill>
                  <a:srgbClr val="0A0A0A"/>
                </a:solidFill>
                <a:latin typeface="Aptos Display" panose="020B0004020202020204" pitchFamily="34" charset="0"/>
                <a:ea typeface="Times New Roman" panose="02020603050405020304" pitchFamily="18" charset="0"/>
                <a:cs typeface="Times New Roman" panose="02020603050405020304" pitchFamily="18" charset="0"/>
              </a:rPr>
              <a:t> El rápido crecimiento económico y el aumento de la clase media han incrementado los ingresos disponibles para viajes y ocio.</a:t>
            </a:r>
            <a:endParaRPr lang="en-US" sz="1400" kern="100" dirty="0">
              <a:solidFill>
                <a:srgbClr val="0A0A0A"/>
              </a:solidFill>
              <a:latin typeface="Aptos Display" panose="020B0004020202020204" pitchFamily="34" charset="0"/>
              <a:ea typeface="Aptos" panose="020B0004020202020204" pitchFamily="34" charset="0"/>
              <a:cs typeface="Times New Roman" panose="02020603050405020304" pitchFamily="18" charset="0"/>
            </a:endParaRPr>
          </a:p>
          <a:p>
            <a:pPr marR="0" lvl="1" algn="just">
              <a:lnSpc>
                <a:spcPts val="1800"/>
              </a:lnSpc>
              <a:spcAft>
                <a:spcPts val="1200"/>
              </a:spcAft>
              <a:buSzPts val="1000"/>
              <a:tabLst>
                <a:tab pos="914400" algn="l"/>
              </a:tabLst>
            </a:pPr>
            <a:r>
              <a:rPr lang="es-MX" sz="1400" b="1" kern="0" dirty="0">
                <a:solidFill>
                  <a:srgbClr val="0A0A0A"/>
                </a:solidFill>
                <a:latin typeface="Aptos Display" panose="020B0004020202020204" pitchFamily="34" charset="0"/>
                <a:ea typeface="Times New Roman" panose="02020603050405020304" pitchFamily="18" charset="0"/>
                <a:cs typeface="Times New Roman" panose="02020603050405020304" pitchFamily="18" charset="0"/>
              </a:rPr>
              <a:t>Tendencias:</a:t>
            </a:r>
            <a:r>
              <a:rPr lang="es-MX" sz="1400" kern="0" dirty="0">
                <a:solidFill>
                  <a:srgbClr val="0A0A0A"/>
                </a:solidFill>
                <a:latin typeface="Aptos Display" panose="020B0004020202020204" pitchFamily="34" charset="0"/>
                <a:ea typeface="Times New Roman" panose="02020603050405020304" pitchFamily="18" charset="0"/>
                <a:cs typeface="Times New Roman" panose="02020603050405020304" pitchFamily="18" charset="0"/>
              </a:rPr>
              <a:t> Muestran una alta aceptación de los tiempos compartidos y se sienten atraídos por destinos de patrimonio cultural y retiros de bienestar. </a:t>
            </a:r>
          </a:p>
          <a:p>
            <a:pPr marR="0" lvl="1" algn="just">
              <a:lnSpc>
                <a:spcPts val="1800"/>
              </a:lnSpc>
              <a:spcAft>
                <a:spcPts val="1200"/>
              </a:spcAft>
              <a:buSzPts val="1000"/>
              <a:tabLst>
                <a:tab pos="914400" algn="l"/>
              </a:tabLst>
            </a:pPr>
            <a:endParaRPr lang="es-MX" sz="1400" kern="0" dirty="0">
              <a:solidFill>
                <a:srgbClr val="0A0A0A"/>
              </a:solidFill>
              <a:latin typeface="Aptos Display" panose="020B0004020202020204" pitchFamily="34" charset="0"/>
              <a:ea typeface="Times New Roman" panose="02020603050405020304" pitchFamily="18" charset="0"/>
              <a:cs typeface="Times New Roman" panose="02020603050405020304" pitchFamily="18" charset="0"/>
            </a:endParaRPr>
          </a:p>
        </p:txBody>
      </p:sp>
      <p:pic>
        <p:nvPicPr>
          <p:cNvPr id="4" name="Picture 3">
            <a:extLst>
              <a:ext uri="{FF2B5EF4-FFF2-40B4-BE49-F238E27FC236}">
                <a16:creationId xmlns:a16="http://schemas.microsoft.com/office/drawing/2014/main" id="{1C2634DF-F490-AF3F-3856-133E214A3894}"/>
              </a:ext>
            </a:extLst>
          </p:cNvPr>
          <p:cNvPicPr>
            <a:picLocks noChangeAspect="1"/>
          </p:cNvPicPr>
          <p:nvPr/>
        </p:nvPicPr>
        <p:blipFill>
          <a:blip r:embed="rId2">
            <a:alphaModFix amt="10000"/>
          </a:blip>
          <a:stretch>
            <a:fillRect/>
          </a:stretch>
        </p:blipFill>
        <p:spPr>
          <a:xfrm>
            <a:off x="6686267" y="755512"/>
            <a:ext cx="5505733" cy="5346975"/>
          </a:xfrm>
          <a:prstGeom prst="rect">
            <a:avLst/>
          </a:prstGeom>
        </p:spPr>
      </p:pic>
    </p:spTree>
    <p:extLst>
      <p:ext uri="{BB962C8B-B14F-4D97-AF65-F5344CB8AC3E}">
        <p14:creationId xmlns:p14="http://schemas.microsoft.com/office/powerpoint/2010/main" val="33781726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28ADE8-E279-B8AF-EB18-CD4AEDAD4601}"/>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6D26A2F7-CA10-FC07-71AA-7FFD4296CB4C}"/>
              </a:ext>
            </a:extLst>
          </p:cNvPr>
          <p:cNvSpPr txBox="1"/>
          <p:nvPr/>
        </p:nvSpPr>
        <p:spPr>
          <a:xfrm>
            <a:off x="481101" y="2053463"/>
            <a:ext cx="11288404" cy="369332"/>
          </a:xfrm>
          <a:prstGeom prst="rect">
            <a:avLst/>
          </a:prstGeom>
          <a:noFill/>
        </p:spPr>
        <p:txBody>
          <a:bodyPr wrap="square">
            <a:spAutoFit/>
          </a:bodyPr>
          <a:lstStyle/>
          <a:p>
            <a:pPr algn="l">
              <a:buFont typeface="+mj-lt"/>
              <a:buAutoNum type="arabicPeriod"/>
            </a:pPr>
            <a:endParaRPr lang="es-MX" b="0" i="0" dirty="0">
              <a:solidFill>
                <a:srgbClr val="111111"/>
              </a:solidFill>
              <a:effectLst/>
              <a:highlight>
                <a:srgbClr val="F7F7F7"/>
              </a:highlight>
              <a:latin typeface="-apple-system"/>
            </a:endParaRPr>
          </a:p>
        </p:txBody>
      </p:sp>
      <p:sp>
        <p:nvSpPr>
          <p:cNvPr id="7" name="Marcador de texto 1">
            <a:extLst>
              <a:ext uri="{FF2B5EF4-FFF2-40B4-BE49-F238E27FC236}">
                <a16:creationId xmlns:a16="http://schemas.microsoft.com/office/drawing/2014/main" id="{05A6801D-3D79-C218-C09E-F400E36558F0}"/>
              </a:ext>
            </a:extLst>
          </p:cNvPr>
          <p:cNvSpPr txBox="1">
            <a:spLocks/>
          </p:cNvSpPr>
          <p:nvPr/>
        </p:nvSpPr>
        <p:spPr>
          <a:xfrm>
            <a:off x="71526" y="469517"/>
            <a:ext cx="5068429" cy="99332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400" b="1" kern="1200">
                <a:solidFill>
                  <a:srgbClr val="014B7F"/>
                </a:solidFill>
                <a:latin typeface="Poppins" panose="00000500000000000000" pitchFamily="2" charset="0"/>
                <a:ea typeface="+mn-ea"/>
                <a:cs typeface="Poppins" panose="000005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MX" sz="2400"/>
              <a:t>Perfil del Comprador</a:t>
            </a:r>
            <a:endParaRPr lang="es-MX" sz="2400" dirty="0"/>
          </a:p>
        </p:txBody>
      </p:sp>
      <p:sp>
        <p:nvSpPr>
          <p:cNvPr id="2" name="Text Placeholder 124">
            <a:extLst>
              <a:ext uri="{FF2B5EF4-FFF2-40B4-BE49-F238E27FC236}">
                <a16:creationId xmlns:a16="http://schemas.microsoft.com/office/drawing/2014/main" id="{17BF07BC-1FF7-26A4-0595-82D4B84A4238}"/>
              </a:ext>
            </a:extLst>
          </p:cNvPr>
          <p:cNvSpPr txBox="1">
            <a:spLocks/>
          </p:cNvSpPr>
          <p:nvPr/>
        </p:nvSpPr>
        <p:spPr>
          <a:xfrm>
            <a:off x="323088" y="1421157"/>
            <a:ext cx="7620000" cy="369332"/>
          </a:xfrm>
          <a:prstGeom prst="rect">
            <a:avLst/>
          </a:prstGeom>
        </p:spPr>
        <p:txBody>
          <a:bodyPr vert="horz" wrap="square" lIns="0" tIns="0" rIns="0" bIns="0" rtlCol="0" anchor="t">
            <a:spAutoFit/>
          </a:bodyPr>
          <a:lstStyle>
            <a:lvl1pPr marL="0" indent="0" algn="l" defTabSz="914400" rtl="0" eaLnBrk="1" latinLnBrk="0" hangingPunct="1">
              <a:lnSpc>
                <a:spcPct val="110000"/>
              </a:lnSpc>
              <a:spcBef>
                <a:spcPct val="0"/>
              </a:spcBef>
              <a:buFont typeface="Arial" pitchFamily="34" charset="0"/>
              <a:buNone/>
              <a:defRPr lang="en-US" sz="1400" b="0" i="0" kern="1200" dirty="0" smtClean="0">
                <a:solidFill>
                  <a:srgbClr val="63656A"/>
                </a:solidFill>
                <a:latin typeface="+mn-lt"/>
                <a:ea typeface="+mj-ea"/>
                <a:cs typeface="Arial" pitchFamily="34" charset="0"/>
              </a:defRPr>
            </a:lvl1pPr>
            <a:lvl2pPr marL="667512"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914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18872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146304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defRPr/>
            </a:pPr>
            <a:r>
              <a:rPr lang="en-US" sz="2400" b="1" dirty="0" err="1">
                <a:solidFill>
                  <a:schemeClr val="tx1"/>
                </a:solidFill>
                <a:latin typeface="Arial"/>
                <a:cs typeface="Arial"/>
              </a:rPr>
              <a:t>Características</a:t>
            </a:r>
            <a:r>
              <a:rPr lang="en-US" sz="2400" b="1" dirty="0">
                <a:solidFill>
                  <a:schemeClr val="tx1"/>
                </a:solidFill>
                <a:latin typeface="Arial"/>
                <a:cs typeface="Arial"/>
              </a:rPr>
              <a:t> </a:t>
            </a:r>
            <a:r>
              <a:rPr lang="en-US" sz="2400" b="1" dirty="0" err="1">
                <a:solidFill>
                  <a:schemeClr val="tx1"/>
                </a:solidFill>
                <a:latin typeface="Arial"/>
                <a:cs typeface="Arial"/>
              </a:rPr>
              <a:t>demográficas</a:t>
            </a:r>
            <a:r>
              <a:rPr lang="en-US" sz="2400" b="1" dirty="0">
                <a:solidFill>
                  <a:schemeClr val="tx1"/>
                </a:solidFill>
                <a:latin typeface="Arial"/>
                <a:cs typeface="Arial"/>
              </a:rPr>
              <a:t> del comprador actual</a:t>
            </a:r>
            <a:r>
              <a:rPr lang="en-US" sz="2400" i="1" u="none" strike="noStrike" kern="1200" cap="none" spc="0" normalizeH="0" baseline="0" noProof="0" dirty="0">
                <a:ln>
                  <a:noFill/>
                </a:ln>
                <a:solidFill>
                  <a:schemeClr val="tx1"/>
                </a:solidFill>
                <a:effectLst/>
                <a:uLnTx/>
                <a:uFillTx/>
                <a:latin typeface="Arial"/>
                <a:cs typeface="Arial"/>
              </a:rPr>
              <a:t>    </a:t>
            </a:r>
            <a:endParaRPr lang="en-US" sz="1800" i="1" u="none" strike="noStrike" kern="1200" cap="none" spc="0" normalizeH="0" baseline="0" noProof="0" dirty="0">
              <a:ln>
                <a:noFill/>
              </a:ln>
              <a:solidFill>
                <a:schemeClr val="tx1"/>
              </a:solidFill>
              <a:effectLst/>
              <a:uLnTx/>
              <a:uFillTx/>
              <a:latin typeface="Arial"/>
            </a:endParaRPr>
          </a:p>
        </p:txBody>
      </p:sp>
      <p:sp>
        <p:nvSpPr>
          <p:cNvPr id="3" name="TextBox 2">
            <a:extLst>
              <a:ext uri="{FF2B5EF4-FFF2-40B4-BE49-F238E27FC236}">
                <a16:creationId xmlns:a16="http://schemas.microsoft.com/office/drawing/2014/main" id="{E820C09C-68D2-32FD-DB20-4D4FBB39F97B}"/>
              </a:ext>
            </a:extLst>
          </p:cNvPr>
          <p:cNvSpPr txBox="1"/>
          <p:nvPr/>
        </p:nvSpPr>
        <p:spPr>
          <a:xfrm>
            <a:off x="323088" y="2124671"/>
            <a:ext cx="11049000" cy="969496"/>
          </a:xfrm>
          <a:prstGeom prst="rect">
            <a:avLst/>
          </a:prstGeom>
          <a:noFill/>
          <a:ln>
            <a:noFill/>
          </a:ln>
        </p:spPr>
        <p:txBody>
          <a:bodyPr wrap="square">
            <a:spAutoFit/>
          </a:bodyPr>
          <a:lstStyle/>
          <a:p>
            <a:pPr algn="just"/>
            <a:r>
              <a:rPr lang="es-ES" sz="1500" b="1" dirty="0">
                <a:latin typeface="Aptos Display" panose="020B0004020202020204" pitchFamily="34" charset="0"/>
              </a:rPr>
              <a:t>Edad</a:t>
            </a:r>
          </a:p>
          <a:p>
            <a:pPr algn="just"/>
            <a:endParaRPr lang="es-ES" sz="1400" b="1" dirty="0">
              <a:latin typeface="Aptos Display" panose="020B0004020202020204" pitchFamily="34" charset="0"/>
            </a:endParaRPr>
          </a:p>
          <a:p>
            <a:pPr algn="just"/>
            <a:r>
              <a:rPr lang="es-ES" sz="1400" b="1" dirty="0">
                <a:latin typeface="Aptos Display" panose="020B0004020202020204" pitchFamily="34" charset="0"/>
              </a:rPr>
              <a:t> </a:t>
            </a:r>
            <a:r>
              <a:rPr lang="es-ES" sz="1400" dirty="0">
                <a:latin typeface="Aptos Display" panose="020B0004020202020204" pitchFamily="34" charset="0"/>
              </a:rPr>
              <a:t>El comprador típico de propiedad vacacional en México tiene entre 45 y 65 años de edad, pero actualmente los compradores más jóvenes, como los </a:t>
            </a:r>
            <a:r>
              <a:rPr lang="es-ES" sz="1400" dirty="0" err="1">
                <a:latin typeface="Aptos Display" panose="020B0004020202020204" pitchFamily="34" charset="0"/>
              </a:rPr>
              <a:t>millennials</a:t>
            </a:r>
            <a:r>
              <a:rPr lang="es-ES" sz="1400" dirty="0">
                <a:latin typeface="Aptos Display" panose="020B0004020202020204" pitchFamily="34" charset="0"/>
              </a:rPr>
              <a:t>, están empezando a adoptar este modelo.</a:t>
            </a:r>
          </a:p>
        </p:txBody>
      </p:sp>
      <p:sp>
        <p:nvSpPr>
          <p:cNvPr id="5" name="TextBox 4">
            <a:extLst>
              <a:ext uri="{FF2B5EF4-FFF2-40B4-BE49-F238E27FC236}">
                <a16:creationId xmlns:a16="http://schemas.microsoft.com/office/drawing/2014/main" id="{1FF4F31B-947D-19C0-540F-5A082B82F451}"/>
              </a:ext>
            </a:extLst>
          </p:cNvPr>
          <p:cNvSpPr txBox="1"/>
          <p:nvPr/>
        </p:nvSpPr>
        <p:spPr>
          <a:xfrm>
            <a:off x="323088" y="3412960"/>
            <a:ext cx="4475155" cy="1815882"/>
          </a:xfrm>
          <a:prstGeom prst="rect">
            <a:avLst/>
          </a:prstGeom>
          <a:noFill/>
        </p:spPr>
        <p:txBody>
          <a:bodyPr wrap="square">
            <a:spAutoFit/>
          </a:bodyPr>
          <a:lstStyle/>
          <a:p>
            <a:pPr algn="l"/>
            <a:r>
              <a:rPr lang="es-ES" sz="1400" b="1" dirty="0">
                <a:latin typeface="Aptos Display" panose="020B0004020202020204" pitchFamily="34" charset="0"/>
              </a:rPr>
              <a:t>49% 	51 años</a:t>
            </a:r>
          </a:p>
          <a:p>
            <a:pPr algn="l"/>
            <a:r>
              <a:rPr lang="es-ES" sz="1400" b="1" dirty="0">
                <a:latin typeface="Aptos Display" panose="020B0004020202020204" pitchFamily="34" charset="0"/>
              </a:rPr>
              <a:t>	</a:t>
            </a:r>
            <a:r>
              <a:rPr lang="es-ES" sz="1400" dirty="0">
                <a:latin typeface="Aptos Display" panose="020B0004020202020204" pitchFamily="34" charset="0"/>
              </a:rPr>
              <a:t>Promedio General de Compradores</a:t>
            </a:r>
          </a:p>
          <a:p>
            <a:pPr algn="l"/>
            <a:endParaRPr lang="es-ES" sz="1400" b="1" dirty="0">
              <a:latin typeface="Aptos Display" panose="020B0004020202020204" pitchFamily="34" charset="0"/>
            </a:endParaRPr>
          </a:p>
          <a:p>
            <a:pPr algn="l"/>
            <a:r>
              <a:rPr lang="es-ES" sz="1400" b="1" dirty="0">
                <a:latin typeface="Aptos Display" panose="020B0004020202020204" pitchFamily="34" charset="0"/>
              </a:rPr>
              <a:t>49% 	39 años</a:t>
            </a:r>
          </a:p>
          <a:p>
            <a:pPr algn="l"/>
            <a:r>
              <a:rPr lang="es-ES" sz="1400" b="1" dirty="0">
                <a:latin typeface="Aptos Display" panose="020B0004020202020204" pitchFamily="34" charset="0"/>
              </a:rPr>
              <a:t>	</a:t>
            </a:r>
            <a:r>
              <a:rPr lang="es-ES" sz="1400" dirty="0">
                <a:latin typeface="Aptos Display" panose="020B0004020202020204" pitchFamily="34" charset="0"/>
              </a:rPr>
              <a:t>Promedio General de Nuevos Compradores</a:t>
            </a:r>
          </a:p>
          <a:p>
            <a:pPr algn="l"/>
            <a:r>
              <a:rPr lang="es-ES" sz="1400" dirty="0">
                <a:latin typeface="Aptos Display" panose="020B0004020202020204" pitchFamily="34" charset="0"/>
              </a:rPr>
              <a:t> </a:t>
            </a:r>
          </a:p>
          <a:p>
            <a:pPr algn="l"/>
            <a:r>
              <a:rPr lang="es-ES" sz="1400" b="1" dirty="0">
                <a:latin typeface="Aptos Display" panose="020B0004020202020204" pitchFamily="34" charset="0"/>
              </a:rPr>
              <a:t>2% 	M</a:t>
            </a:r>
            <a:r>
              <a:rPr lang="es-ES" sz="1400" dirty="0">
                <a:latin typeface="Aptos Display" panose="020B0004020202020204" pitchFamily="34" charset="0"/>
              </a:rPr>
              <a:t>enores de 35 años - Gen Z y </a:t>
            </a:r>
            <a:r>
              <a:rPr lang="es-ES" sz="1400" dirty="0" err="1">
                <a:latin typeface="Aptos Display" panose="020B0004020202020204" pitchFamily="34" charset="0"/>
              </a:rPr>
              <a:t>Millennials</a:t>
            </a:r>
            <a:r>
              <a:rPr lang="es-ES" sz="1400" dirty="0">
                <a:latin typeface="Aptos Display" panose="020B0004020202020204" pitchFamily="34" charset="0"/>
              </a:rPr>
              <a:t> 	</a:t>
            </a:r>
            <a:endParaRPr lang="en-US" sz="1400" dirty="0">
              <a:latin typeface="Aptos Display" panose="020B0004020202020204" pitchFamily="34" charset="0"/>
            </a:endParaRPr>
          </a:p>
        </p:txBody>
      </p:sp>
      <p:pic>
        <p:nvPicPr>
          <p:cNvPr id="6" name="Picture 5">
            <a:extLst>
              <a:ext uri="{FF2B5EF4-FFF2-40B4-BE49-F238E27FC236}">
                <a16:creationId xmlns:a16="http://schemas.microsoft.com/office/drawing/2014/main" id="{8398F029-AEEF-5810-19A9-D49549492B2C}"/>
              </a:ext>
            </a:extLst>
          </p:cNvPr>
          <p:cNvPicPr>
            <a:picLocks noChangeAspect="1"/>
          </p:cNvPicPr>
          <p:nvPr/>
        </p:nvPicPr>
        <p:blipFill>
          <a:blip r:embed="rId2"/>
          <a:stretch>
            <a:fillRect/>
          </a:stretch>
        </p:blipFill>
        <p:spPr>
          <a:xfrm>
            <a:off x="5847588" y="3429000"/>
            <a:ext cx="4600220" cy="1757980"/>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C679F967-13AE-633F-B02E-CCB2E4E7660E}"/>
              </a:ext>
            </a:extLst>
          </p:cNvPr>
          <p:cNvPicPr>
            <a:picLocks noChangeAspect="1"/>
          </p:cNvPicPr>
          <p:nvPr/>
        </p:nvPicPr>
        <p:blipFill>
          <a:blip r:embed="rId3">
            <a:alphaModFix amt="10000"/>
          </a:blip>
          <a:stretch>
            <a:fillRect/>
          </a:stretch>
        </p:blipFill>
        <p:spPr>
          <a:xfrm>
            <a:off x="2247614" y="1300326"/>
            <a:ext cx="7883372" cy="5249547"/>
          </a:xfrm>
          <a:prstGeom prst="rect">
            <a:avLst/>
          </a:prstGeom>
        </p:spPr>
      </p:pic>
    </p:spTree>
    <p:extLst>
      <p:ext uri="{BB962C8B-B14F-4D97-AF65-F5344CB8AC3E}">
        <p14:creationId xmlns:p14="http://schemas.microsoft.com/office/powerpoint/2010/main" val="29632733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429329-3F14-470D-3740-1B03DF4C028E}"/>
            </a:ext>
          </a:extLst>
        </p:cNvPr>
        <p:cNvGrpSpPr/>
        <p:nvPr/>
      </p:nvGrpSpPr>
      <p:grpSpPr>
        <a:xfrm>
          <a:off x="0" y="0"/>
          <a:ext cx="0" cy="0"/>
          <a:chOff x="0" y="0"/>
          <a:chExt cx="0" cy="0"/>
        </a:xfrm>
      </p:grpSpPr>
      <p:sp>
        <p:nvSpPr>
          <p:cNvPr id="7" name="Marcador de texto 1">
            <a:extLst>
              <a:ext uri="{FF2B5EF4-FFF2-40B4-BE49-F238E27FC236}">
                <a16:creationId xmlns:a16="http://schemas.microsoft.com/office/drawing/2014/main" id="{8B1EFB21-23FC-79CF-6149-418039C47A76}"/>
              </a:ext>
            </a:extLst>
          </p:cNvPr>
          <p:cNvSpPr txBox="1">
            <a:spLocks/>
          </p:cNvSpPr>
          <p:nvPr/>
        </p:nvSpPr>
        <p:spPr>
          <a:xfrm>
            <a:off x="71526" y="469517"/>
            <a:ext cx="5068429" cy="99332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400" b="1" kern="1200">
                <a:solidFill>
                  <a:srgbClr val="014B7F"/>
                </a:solidFill>
                <a:latin typeface="Poppins" panose="00000500000000000000" pitchFamily="2" charset="0"/>
                <a:ea typeface="+mn-ea"/>
                <a:cs typeface="Poppins" panose="000005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MX" sz="2400"/>
              <a:t>Perfil del Comprador</a:t>
            </a:r>
            <a:endParaRPr lang="es-MX" sz="2400" dirty="0"/>
          </a:p>
        </p:txBody>
      </p:sp>
      <p:sp>
        <p:nvSpPr>
          <p:cNvPr id="3" name="TextBox 2">
            <a:extLst>
              <a:ext uri="{FF2B5EF4-FFF2-40B4-BE49-F238E27FC236}">
                <a16:creationId xmlns:a16="http://schemas.microsoft.com/office/drawing/2014/main" id="{4941CB13-4F8E-BB53-8A5B-AC72B36239C9}"/>
              </a:ext>
            </a:extLst>
          </p:cNvPr>
          <p:cNvSpPr txBox="1"/>
          <p:nvPr/>
        </p:nvSpPr>
        <p:spPr>
          <a:xfrm>
            <a:off x="457200" y="2332716"/>
            <a:ext cx="4953000" cy="1200329"/>
          </a:xfrm>
          <a:prstGeom prst="rect">
            <a:avLst/>
          </a:prstGeom>
          <a:noFill/>
        </p:spPr>
        <p:txBody>
          <a:bodyPr wrap="square">
            <a:spAutoFit/>
          </a:bodyPr>
          <a:lstStyle/>
          <a:p>
            <a:pPr algn="just"/>
            <a:r>
              <a:rPr lang="es-ES" sz="1500" b="1" dirty="0">
                <a:latin typeface="Aptos Display" panose="020B0004020202020204" pitchFamily="34" charset="0"/>
              </a:rPr>
              <a:t>Estado civil y familia</a:t>
            </a:r>
          </a:p>
          <a:p>
            <a:pPr algn="just"/>
            <a:endParaRPr lang="es-ES" sz="1500" b="1" dirty="0">
              <a:latin typeface="Aptos Display" panose="020B0004020202020204" pitchFamily="34" charset="0"/>
            </a:endParaRPr>
          </a:p>
          <a:p>
            <a:pPr algn="just"/>
            <a:r>
              <a:rPr lang="es-ES" sz="1400" dirty="0">
                <a:latin typeface="Aptos Display" panose="020B0004020202020204" pitchFamily="34" charset="0"/>
              </a:rPr>
              <a:t>Parejas maduras, familias jóvenes y últimamente personas solteras que buscan experiencias de vacaciones de calidad.</a:t>
            </a:r>
          </a:p>
          <a:p>
            <a:pPr algn="just"/>
            <a:endParaRPr lang="es-ES" sz="1400" dirty="0">
              <a:latin typeface="Aptos Display" panose="020B0004020202020204" pitchFamily="34" charset="0"/>
            </a:endParaRPr>
          </a:p>
        </p:txBody>
      </p:sp>
      <p:sp>
        <p:nvSpPr>
          <p:cNvPr id="5" name="TextBox 4">
            <a:extLst>
              <a:ext uri="{FF2B5EF4-FFF2-40B4-BE49-F238E27FC236}">
                <a16:creationId xmlns:a16="http://schemas.microsoft.com/office/drawing/2014/main" id="{F17F2E39-2AED-7EC9-6ED8-F1E2F0777AE8}"/>
              </a:ext>
            </a:extLst>
          </p:cNvPr>
          <p:cNvSpPr txBox="1"/>
          <p:nvPr/>
        </p:nvSpPr>
        <p:spPr>
          <a:xfrm>
            <a:off x="6934200" y="2332716"/>
            <a:ext cx="5087060" cy="1200329"/>
          </a:xfrm>
          <a:prstGeom prst="rect">
            <a:avLst/>
          </a:prstGeom>
          <a:noFill/>
        </p:spPr>
        <p:txBody>
          <a:bodyPr wrap="square">
            <a:spAutoFit/>
          </a:bodyPr>
          <a:lstStyle/>
          <a:p>
            <a:pPr algn="just"/>
            <a:r>
              <a:rPr lang="es-ES" sz="1500" b="1" dirty="0">
                <a:latin typeface="Aptos Display" panose="020B0004020202020204" pitchFamily="34" charset="0"/>
              </a:rPr>
              <a:t>Ubicación geográfica</a:t>
            </a:r>
          </a:p>
          <a:p>
            <a:pPr algn="just"/>
            <a:endParaRPr lang="es-ES" sz="1500" b="1" dirty="0">
              <a:latin typeface="Aptos Display" panose="020B0004020202020204" pitchFamily="34" charset="0"/>
            </a:endParaRPr>
          </a:p>
          <a:p>
            <a:pPr algn="just"/>
            <a:r>
              <a:rPr lang="es-ES" sz="1400" dirty="0">
                <a:latin typeface="Aptos Display" panose="020B0004020202020204" pitchFamily="34" charset="0"/>
              </a:rPr>
              <a:t>El 80% de los compradores en México provienen de Estados Unidos y Canadá, seguidos por Mexicanos y en menor volumen Sudamericanos y Europeos.</a:t>
            </a:r>
          </a:p>
        </p:txBody>
      </p:sp>
      <p:sp>
        <p:nvSpPr>
          <p:cNvPr id="8" name="Text Placeholder 124">
            <a:extLst>
              <a:ext uri="{FF2B5EF4-FFF2-40B4-BE49-F238E27FC236}">
                <a16:creationId xmlns:a16="http://schemas.microsoft.com/office/drawing/2014/main" id="{00A3CA39-47F6-9626-0F2F-92C1FD22C0E5}"/>
              </a:ext>
            </a:extLst>
          </p:cNvPr>
          <p:cNvSpPr txBox="1">
            <a:spLocks/>
          </p:cNvSpPr>
          <p:nvPr/>
        </p:nvSpPr>
        <p:spPr>
          <a:xfrm>
            <a:off x="323088" y="1421157"/>
            <a:ext cx="7620000" cy="369332"/>
          </a:xfrm>
          <a:prstGeom prst="rect">
            <a:avLst/>
          </a:prstGeom>
        </p:spPr>
        <p:txBody>
          <a:bodyPr vert="horz" wrap="square" lIns="0" tIns="0" rIns="0" bIns="0" rtlCol="0" anchor="t">
            <a:spAutoFit/>
          </a:bodyPr>
          <a:lstStyle>
            <a:lvl1pPr marL="0" indent="0" algn="l" defTabSz="914400" rtl="0" eaLnBrk="1" latinLnBrk="0" hangingPunct="1">
              <a:lnSpc>
                <a:spcPct val="110000"/>
              </a:lnSpc>
              <a:spcBef>
                <a:spcPct val="0"/>
              </a:spcBef>
              <a:buFont typeface="Arial" pitchFamily="34" charset="0"/>
              <a:buNone/>
              <a:defRPr lang="en-US" sz="1400" b="0" i="0" kern="1200" dirty="0" smtClean="0">
                <a:solidFill>
                  <a:srgbClr val="63656A"/>
                </a:solidFill>
                <a:latin typeface="+mn-lt"/>
                <a:ea typeface="+mj-ea"/>
                <a:cs typeface="Arial" pitchFamily="34" charset="0"/>
              </a:defRPr>
            </a:lvl1pPr>
            <a:lvl2pPr marL="667512"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914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18872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146304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defRPr/>
            </a:pPr>
            <a:r>
              <a:rPr lang="en-US" sz="2400" b="1" dirty="0" err="1">
                <a:solidFill>
                  <a:schemeClr val="tx1"/>
                </a:solidFill>
                <a:latin typeface="Arial"/>
                <a:cs typeface="Arial"/>
              </a:rPr>
              <a:t>Características</a:t>
            </a:r>
            <a:r>
              <a:rPr lang="en-US" sz="2400" b="1" dirty="0">
                <a:solidFill>
                  <a:schemeClr val="tx1"/>
                </a:solidFill>
                <a:latin typeface="Arial"/>
                <a:cs typeface="Arial"/>
              </a:rPr>
              <a:t> </a:t>
            </a:r>
            <a:r>
              <a:rPr lang="en-US" sz="2400" b="1" dirty="0" err="1">
                <a:solidFill>
                  <a:schemeClr val="tx1"/>
                </a:solidFill>
                <a:latin typeface="Arial"/>
                <a:cs typeface="Arial"/>
              </a:rPr>
              <a:t>demográficas</a:t>
            </a:r>
            <a:r>
              <a:rPr lang="en-US" sz="2400" b="1" dirty="0">
                <a:solidFill>
                  <a:schemeClr val="tx1"/>
                </a:solidFill>
                <a:latin typeface="Arial"/>
                <a:cs typeface="Arial"/>
              </a:rPr>
              <a:t> del comprador actual</a:t>
            </a:r>
            <a:r>
              <a:rPr lang="en-US" sz="2400" i="1" u="none" strike="noStrike" kern="1200" cap="none" spc="0" normalizeH="0" baseline="0" noProof="0" dirty="0">
                <a:ln>
                  <a:noFill/>
                </a:ln>
                <a:solidFill>
                  <a:schemeClr val="tx1"/>
                </a:solidFill>
                <a:effectLst/>
                <a:uLnTx/>
                <a:uFillTx/>
                <a:latin typeface="Arial"/>
                <a:cs typeface="Arial"/>
              </a:rPr>
              <a:t>    </a:t>
            </a:r>
            <a:endParaRPr lang="en-US" sz="1800" i="1" u="none" strike="noStrike" kern="1200" cap="none" spc="0" normalizeH="0" baseline="0" noProof="0" dirty="0">
              <a:ln>
                <a:noFill/>
              </a:ln>
              <a:solidFill>
                <a:schemeClr val="tx1"/>
              </a:solidFill>
              <a:effectLst/>
              <a:uLnTx/>
              <a:uFillTx/>
              <a:latin typeface="Arial"/>
            </a:endParaRPr>
          </a:p>
        </p:txBody>
      </p:sp>
      <p:pic>
        <p:nvPicPr>
          <p:cNvPr id="2" name="Picture 1" descr="A pie chart with a number of different colored parts&#10;&#10;AI-generated content may be incorrect.">
            <a:extLst>
              <a:ext uri="{FF2B5EF4-FFF2-40B4-BE49-F238E27FC236}">
                <a16:creationId xmlns:a16="http://schemas.microsoft.com/office/drawing/2014/main" id="{75FE602E-AD28-B66C-CB35-5271D0DC0870}"/>
              </a:ext>
            </a:extLst>
          </p:cNvPr>
          <p:cNvPicPr>
            <a:picLocks noChangeAspect="1"/>
          </p:cNvPicPr>
          <p:nvPr/>
        </p:nvPicPr>
        <p:blipFill>
          <a:blip r:embed="rId2"/>
          <a:stretch>
            <a:fillRect/>
          </a:stretch>
        </p:blipFill>
        <p:spPr>
          <a:xfrm>
            <a:off x="3363399" y="3679711"/>
            <a:ext cx="4579689" cy="270877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5619585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1E4E79-79B6-F7CB-BB28-10C85608B825}"/>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093158D9-BA2D-5EDB-BD20-9925CDD74A32}"/>
              </a:ext>
            </a:extLst>
          </p:cNvPr>
          <p:cNvSpPr txBox="1"/>
          <p:nvPr/>
        </p:nvSpPr>
        <p:spPr>
          <a:xfrm>
            <a:off x="481101" y="2053463"/>
            <a:ext cx="11288404" cy="369332"/>
          </a:xfrm>
          <a:prstGeom prst="rect">
            <a:avLst/>
          </a:prstGeom>
          <a:noFill/>
        </p:spPr>
        <p:txBody>
          <a:bodyPr wrap="square">
            <a:spAutoFit/>
          </a:bodyPr>
          <a:lstStyle/>
          <a:p>
            <a:pPr algn="l">
              <a:buFont typeface="+mj-lt"/>
              <a:buAutoNum type="arabicPeriod"/>
            </a:pPr>
            <a:endParaRPr lang="es-MX" b="0" i="0" dirty="0">
              <a:solidFill>
                <a:srgbClr val="111111"/>
              </a:solidFill>
              <a:effectLst/>
              <a:highlight>
                <a:srgbClr val="F7F7F7"/>
              </a:highlight>
              <a:latin typeface="-apple-system"/>
            </a:endParaRPr>
          </a:p>
        </p:txBody>
      </p:sp>
      <p:sp>
        <p:nvSpPr>
          <p:cNvPr id="7" name="Marcador de texto 1">
            <a:extLst>
              <a:ext uri="{FF2B5EF4-FFF2-40B4-BE49-F238E27FC236}">
                <a16:creationId xmlns:a16="http://schemas.microsoft.com/office/drawing/2014/main" id="{DAE9EDC5-2F39-22E9-EFF9-1CCCA32D134C}"/>
              </a:ext>
            </a:extLst>
          </p:cNvPr>
          <p:cNvSpPr txBox="1">
            <a:spLocks/>
          </p:cNvSpPr>
          <p:nvPr/>
        </p:nvSpPr>
        <p:spPr>
          <a:xfrm>
            <a:off x="71526" y="469517"/>
            <a:ext cx="5068429" cy="99332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400" b="1" kern="1200">
                <a:solidFill>
                  <a:srgbClr val="014B7F"/>
                </a:solidFill>
                <a:latin typeface="Poppins" panose="00000500000000000000" pitchFamily="2" charset="0"/>
                <a:ea typeface="+mn-ea"/>
                <a:cs typeface="Poppins" panose="000005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MX" sz="2400"/>
              <a:t>Perfil del Comprador</a:t>
            </a:r>
            <a:endParaRPr lang="es-MX" sz="2400" dirty="0"/>
          </a:p>
        </p:txBody>
      </p:sp>
      <p:sp>
        <p:nvSpPr>
          <p:cNvPr id="2" name="Text Placeholder 124">
            <a:extLst>
              <a:ext uri="{FF2B5EF4-FFF2-40B4-BE49-F238E27FC236}">
                <a16:creationId xmlns:a16="http://schemas.microsoft.com/office/drawing/2014/main" id="{6F017CBD-68DA-61E9-4D21-DE910A469B54}"/>
              </a:ext>
            </a:extLst>
          </p:cNvPr>
          <p:cNvSpPr txBox="1">
            <a:spLocks/>
          </p:cNvSpPr>
          <p:nvPr/>
        </p:nvSpPr>
        <p:spPr>
          <a:xfrm>
            <a:off x="396240" y="1155061"/>
            <a:ext cx="5417875" cy="615553"/>
          </a:xfrm>
          <a:prstGeom prst="rect">
            <a:avLst/>
          </a:prstGeom>
        </p:spPr>
        <p:txBody>
          <a:bodyPr vert="horz" wrap="square" lIns="0" tIns="0" rIns="0" bIns="0" rtlCol="0" anchor="t">
            <a:spAutoFit/>
          </a:bodyPr>
          <a:lstStyle>
            <a:lvl1pPr marL="0" indent="0" algn="l" defTabSz="914400" rtl="0" eaLnBrk="1" latinLnBrk="0" hangingPunct="1">
              <a:lnSpc>
                <a:spcPct val="110000"/>
              </a:lnSpc>
              <a:spcBef>
                <a:spcPct val="0"/>
              </a:spcBef>
              <a:buFont typeface="Arial" pitchFamily="34" charset="0"/>
              <a:buNone/>
              <a:defRPr lang="en-US" sz="1400" b="0" i="0" kern="1200" dirty="0" smtClean="0">
                <a:solidFill>
                  <a:srgbClr val="63656A"/>
                </a:solidFill>
                <a:latin typeface="+mn-lt"/>
                <a:ea typeface="+mj-ea"/>
                <a:cs typeface="Arial" pitchFamily="34" charset="0"/>
              </a:defRPr>
            </a:lvl1pPr>
            <a:lvl2pPr marL="667512"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914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18872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146304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defRPr/>
            </a:pPr>
            <a:r>
              <a:rPr lang="es-ES" sz="2000" b="1" i="1" u="none" strike="noStrike" kern="1200" cap="none" spc="0" normalizeH="0" baseline="0" noProof="0" dirty="0">
                <a:ln>
                  <a:noFill/>
                </a:ln>
                <a:solidFill>
                  <a:schemeClr val="tx1"/>
                </a:solidFill>
                <a:effectLst/>
                <a:uLnTx/>
                <a:uFillTx/>
                <a:latin typeface="Arial"/>
                <a:cs typeface="Arial"/>
              </a:rPr>
              <a:t>Factores socioeconómicos y su impacto en el consumo</a:t>
            </a:r>
            <a:endParaRPr lang="en-US" sz="1600" b="1" i="1" u="none" strike="noStrike" kern="1200" cap="none" spc="0" normalizeH="0" baseline="0" noProof="0" dirty="0">
              <a:ln>
                <a:noFill/>
              </a:ln>
              <a:solidFill>
                <a:schemeClr val="tx1"/>
              </a:solidFill>
              <a:effectLst/>
              <a:uLnTx/>
              <a:uFillTx/>
              <a:latin typeface="Arial"/>
            </a:endParaRPr>
          </a:p>
        </p:txBody>
      </p:sp>
      <p:sp>
        <p:nvSpPr>
          <p:cNvPr id="3" name="TextBox 2">
            <a:extLst>
              <a:ext uri="{FF2B5EF4-FFF2-40B4-BE49-F238E27FC236}">
                <a16:creationId xmlns:a16="http://schemas.microsoft.com/office/drawing/2014/main" id="{DB6B4CDB-969C-93C0-0F45-335A3B6BDDD3}"/>
              </a:ext>
            </a:extLst>
          </p:cNvPr>
          <p:cNvSpPr txBox="1"/>
          <p:nvPr/>
        </p:nvSpPr>
        <p:spPr>
          <a:xfrm>
            <a:off x="609600" y="2053463"/>
            <a:ext cx="11101299" cy="1815882"/>
          </a:xfrm>
          <a:prstGeom prst="rect">
            <a:avLst/>
          </a:prstGeom>
          <a:noFill/>
        </p:spPr>
        <p:txBody>
          <a:bodyPr wrap="square" lIns="91440" tIns="45720" rIns="91440" bIns="45720" anchor="t">
            <a:spAutoFit/>
          </a:bodyPr>
          <a:lstStyle/>
          <a:p>
            <a:pPr algn="just"/>
            <a:r>
              <a:rPr lang="es-ES" sz="1400" b="1" dirty="0">
                <a:latin typeface="Aptos Display" panose="020B0004020202020204" pitchFamily="34" charset="0"/>
              </a:rPr>
              <a:t>Ingresos:</a:t>
            </a:r>
            <a:r>
              <a:rPr lang="es-ES" sz="1400" dirty="0">
                <a:latin typeface="Aptos Display" panose="020B0004020202020204" pitchFamily="34" charset="0"/>
              </a:rPr>
              <a:t> El perfil de ingresos de los compradores está en constante cambio. Con el aumento de ingresos disponibles, hay un incremento en la demanda de experiencias exclusivas y de lujo.</a:t>
            </a:r>
          </a:p>
          <a:p>
            <a:pPr algn="just"/>
            <a:endParaRPr lang="es-ES" sz="1400" dirty="0">
              <a:latin typeface="Aptos Display" panose="020B0004020202020204" pitchFamily="34" charset="0"/>
            </a:endParaRPr>
          </a:p>
          <a:p>
            <a:pPr algn="just"/>
            <a:r>
              <a:rPr lang="es-ES" sz="1400" b="1" dirty="0">
                <a:latin typeface="Aptos Display" panose="020B0004020202020204" pitchFamily="34" charset="0"/>
              </a:rPr>
              <a:t>Estabilidad laboral:</a:t>
            </a:r>
            <a:r>
              <a:rPr lang="es-ES" sz="1400" dirty="0">
                <a:latin typeface="Aptos Display" panose="020B0004020202020204" pitchFamily="34" charset="0"/>
              </a:rPr>
              <a:t> Los compradores con empleo estable son más propensos a adquirir una propiedad vacacional, ya que buscan seguridad y valor a largo plazo en sus inversiones.</a:t>
            </a:r>
          </a:p>
          <a:p>
            <a:pPr algn="just"/>
            <a:endParaRPr lang="es-ES" sz="1400" dirty="0">
              <a:latin typeface="Aptos Display" panose="020B0004020202020204" pitchFamily="34" charset="0"/>
            </a:endParaRPr>
          </a:p>
          <a:p>
            <a:pPr algn="just"/>
            <a:r>
              <a:rPr lang="es-ES" sz="1400" b="1" dirty="0">
                <a:latin typeface="Aptos Display" panose="020B0004020202020204" pitchFamily="34" charset="0"/>
              </a:rPr>
              <a:t>Aprecio por las experiencias: </a:t>
            </a:r>
            <a:r>
              <a:rPr lang="es-ES" sz="1400" dirty="0">
                <a:latin typeface="Aptos Display" panose="020B0004020202020204" pitchFamily="34" charset="0"/>
              </a:rPr>
              <a:t>En lugar de comprar bienes materiales, los consumidores están priorizando experiencias de viaje que les brinden recuerdos valiosos, lo que impulsa el crecimiento del mercado de tiempo compartido</a:t>
            </a:r>
            <a:endParaRPr lang="en-US" sz="1400" dirty="0">
              <a:latin typeface="Aptos Display" panose="020B0004020202020204" pitchFamily="34" charset="0"/>
            </a:endParaRPr>
          </a:p>
        </p:txBody>
      </p:sp>
      <p:graphicFrame>
        <p:nvGraphicFramePr>
          <p:cNvPr id="6" name="Table 5">
            <a:extLst>
              <a:ext uri="{FF2B5EF4-FFF2-40B4-BE49-F238E27FC236}">
                <a16:creationId xmlns:a16="http://schemas.microsoft.com/office/drawing/2014/main" id="{0DEE4E2F-46C6-E812-7408-2977A47D9F20}"/>
              </a:ext>
            </a:extLst>
          </p:cNvPr>
          <p:cNvGraphicFramePr>
            <a:graphicFrameLocks noGrp="1"/>
          </p:cNvGraphicFramePr>
          <p:nvPr>
            <p:extLst>
              <p:ext uri="{D42A27DB-BD31-4B8C-83A1-F6EECF244321}">
                <p14:modId xmlns:p14="http://schemas.microsoft.com/office/powerpoint/2010/main" val="2795831535"/>
              </p:ext>
            </p:extLst>
          </p:nvPr>
        </p:nvGraphicFramePr>
        <p:xfrm>
          <a:off x="1196809" y="4239643"/>
          <a:ext cx="9519959" cy="1259840"/>
        </p:xfrm>
        <a:graphic>
          <a:graphicData uri="http://schemas.openxmlformats.org/drawingml/2006/table">
            <a:tbl>
              <a:tblPr firstRow="1" bandRow="1">
                <a:tableStyleId>{C4B1156A-380E-4F78-BDF5-A606A8083BF9}</a:tableStyleId>
              </a:tblPr>
              <a:tblGrid>
                <a:gridCol w="1522298">
                  <a:extLst>
                    <a:ext uri="{9D8B030D-6E8A-4147-A177-3AD203B41FA5}">
                      <a16:colId xmlns:a16="http://schemas.microsoft.com/office/drawing/2014/main" val="2250116465"/>
                    </a:ext>
                  </a:extLst>
                </a:gridCol>
                <a:gridCol w="2590547">
                  <a:extLst>
                    <a:ext uri="{9D8B030D-6E8A-4147-A177-3AD203B41FA5}">
                      <a16:colId xmlns:a16="http://schemas.microsoft.com/office/drawing/2014/main" val="2791544373"/>
                    </a:ext>
                  </a:extLst>
                </a:gridCol>
                <a:gridCol w="5407114">
                  <a:extLst>
                    <a:ext uri="{9D8B030D-6E8A-4147-A177-3AD203B41FA5}">
                      <a16:colId xmlns:a16="http://schemas.microsoft.com/office/drawing/2014/main" val="1743011107"/>
                    </a:ext>
                  </a:extLst>
                </a:gridCol>
              </a:tblGrid>
              <a:tr h="370840">
                <a:tc>
                  <a:txBody>
                    <a:bodyPr/>
                    <a:lstStyle/>
                    <a:p>
                      <a:pPr algn="l"/>
                      <a:r>
                        <a:rPr lang="es-MX" sz="1400" b="1" dirty="0">
                          <a:latin typeface="Aptos Display" panose="020B0004020202020204" pitchFamily="34" charset="0"/>
                        </a:rPr>
                        <a:t>Ingreso Bajo</a:t>
                      </a:r>
                      <a:endParaRPr lang="en-US" sz="1400" b="1" dirty="0">
                        <a:latin typeface="Aptos Display" panose="020B0004020202020204" pitchFamily="34" charset="0"/>
                      </a:endParaRPr>
                    </a:p>
                  </a:txBody>
                  <a:tcPr/>
                </a:tc>
                <a:tc>
                  <a:txBody>
                    <a:bodyPr/>
                    <a:lstStyle/>
                    <a:p>
                      <a:pPr algn="ctr"/>
                      <a:r>
                        <a:rPr lang="es-MX" sz="1400" b="0" dirty="0">
                          <a:latin typeface="Aptos Display" panose="020B0004020202020204" pitchFamily="34" charset="0"/>
                        </a:rPr>
                        <a:t>Desde USD $50,000</a:t>
                      </a:r>
                      <a:endParaRPr lang="en-US" sz="1400" b="0" dirty="0">
                        <a:latin typeface="Aptos Display" panose="020B0004020202020204" pitchFamily="34" charset="0"/>
                      </a:endParaRPr>
                    </a:p>
                  </a:txBody>
                  <a:tcPr/>
                </a:tc>
                <a:tc>
                  <a:txBody>
                    <a:bodyPr/>
                    <a:lstStyle/>
                    <a:p>
                      <a:r>
                        <a:rPr lang="es-MX" sz="1400" b="0" dirty="0">
                          <a:latin typeface="Aptos Display" panose="020B0004020202020204" pitchFamily="34" charset="0"/>
                        </a:rPr>
                        <a:t>Buscan opciones accesibles, suelen pedir financiamiento</a:t>
                      </a:r>
                      <a:endParaRPr lang="en-US" sz="1400" b="0" dirty="0">
                        <a:latin typeface="Aptos Display" panose="020B0004020202020204" pitchFamily="34" charset="0"/>
                      </a:endParaRPr>
                    </a:p>
                  </a:txBody>
                  <a:tcPr/>
                </a:tc>
                <a:extLst>
                  <a:ext uri="{0D108BD9-81ED-4DB2-BD59-A6C34878D82A}">
                    <a16:rowId xmlns:a16="http://schemas.microsoft.com/office/drawing/2014/main" val="2253770819"/>
                  </a:ext>
                </a:extLst>
              </a:tr>
              <a:tr h="370840">
                <a:tc>
                  <a:txBody>
                    <a:bodyPr/>
                    <a:lstStyle/>
                    <a:p>
                      <a:pPr algn="l"/>
                      <a:r>
                        <a:rPr lang="es-MX" sz="1400" b="1" dirty="0">
                          <a:latin typeface="Aptos Display" panose="020B0004020202020204" pitchFamily="34" charset="0"/>
                        </a:rPr>
                        <a:t>Ingreso Medio</a:t>
                      </a:r>
                      <a:endParaRPr lang="en-US" sz="1400" b="1" dirty="0">
                        <a:latin typeface="Aptos Display" panose="020B0004020202020204" pitchFamily="34" charset="0"/>
                      </a:endParaRPr>
                    </a:p>
                  </a:txBody>
                  <a:tcPr/>
                </a:tc>
                <a:tc>
                  <a:txBody>
                    <a:bodyPr/>
                    <a:lstStyle/>
                    <a:p>
                      <a:pPr algn="ctr"/>
                      <a:r>
                        <a:rPr lang="es-MX" sz="1400" dirty="0">
                          <a:latin typeface="Aptos Display" panose="020B0004020202020204" pitchFamily="34" charset="0"/>
                        </a:rPr>
                        <a:t>USD$75,000 - $125,000</a:t>
                      </a:r>
                      <a:endParaRPr lang="en-US" sz="1400" dirty="0">
                        <a:latin typeface="Aptos Display" panose="020B0004020202020204" pitchFamily="34" charset="0"/>
                      </a:endParaRPr>
                    </a:p>
                  </a:txBody>
                  <a:tcPr/>
                </a:tc>
                <a:tc>
                  <a:txBody>
                    <a:bodyPr/>
                    <a:lstStyle/>
                    <a:p>
                      <a:r>
                        <a:rPr lang="es-MX" sz="1400" dirty="0">
                          <a:latin typeface="Aptos Display" panose="020B0004020202020204" pitchFamily="34" charset="0"/>
                        </a:rPr>
                        <a:t>Valoran Flexibilidad y Calidad</a:t>
                      </a:r>
                      <a:endParaRPr lang="en-US" sz="1400" dirty="0">
                        <a:latin typeface="Aptos Display" panose="020B0004020202020204" pitchFamily="34" charset="0"/>
                      </a:endParaRPr>
                    </a:p>
                  </a:txBody>
                  <a:tcPr/>
                </a:tc>
                <a:extLst>
                  <a:ext uri="{0D108BD9-81ED-4DB2-BD59-A6C34878D82A}">
                    <a16:rowId xmlns:a16="http://schemas.microsoft.com/office/drawing/2014/main" val="1903562039"/>
                  </a:ext>
                </a:extLst>
              </a:tr>
              <a:tr h="370840">
                <a:tc>
                  <a:txBody>
                    <a:bodyPr/>
                    <a:lstStyle/>
                    <a:p>
                      <a:pPr algn="l"/>
                      <a:r>
                        <a:rPr lang="es-MX" sz="1400" b="1" dirty="0">
                          <a:latin typeface="Aptos Display" panose="020B0004020202020204" pitchFamily="34" charset="0"/>
                        </a:rPr>
                        <a:t>Ingreso Alto</a:t>
                      </a:r>
                      <a:endParaRPr lang="en-US" sz="1400" b="1" dirty="0">
                        <a:latin typeface="Aptos Display" panose="020B0004020202020204" pitchFamily="34" charset="0"/>
                      </a:endParaRPr>
                    </a:p>
                  </a:txBody>
                  <a:tcPr/>
                </a:tc>
                <a:tc>
                  <a:txBody>
                    <a:bodyPr/>
                    <a:lstStyle/>
                    <a:p>
                      <a:pPr algn="ctr"/>
                      <a:r>
                        <a:rPr lang="es-MX" sz="1400" dirty="0">
                          <a:latin typeface="Aptos Display" panose="020B0004020202020204" pitchFamily="34" charset="0"/>
                        </a:rPr>
                        <a:t>Mas de USD $150,000</a:t>
                      </a:r>
                      <a:endParaRPr lang="en-US" sz="1400" dirty="0">
                        <a:latin typeface="Aptos Display" panose="020B0004020202020204" pitchFamily="34" charset="0"/>
                      </a:endParaRPr>
                    </a:p>
                  </a:txBody>
                  <a:tcPr/>
                </a:tc>
                <a:tc>
                  <a:txBody>
                    <a:bodyPr/>
                    <a:lstStyle/>
                    <a:p>
                      <a:r>
                        <a:rPr lang="es-MX" sz="1400" dirty="0">
                          <a:latin typeface="Aptos Display" panose="020B0004020202020204" pitchFamily="34" charset="0"/>
                        </a:rPr>
                        <a:t>Buscan exclusividad y experiencias premium, menos probabilidad de pedir financiamiento</a:t>
                      </a:r>
                      <a:endParaRPr lang="en-US" sz="1400" dirty="0">
                        <a:latin typeface="Aptos Display" panose="020B0004020202020204" pitchFamily="34" charset="0"/>
                      </a:endParaRPr>
                    </a:p>
                  </a:txBody>
                  <a:tcPr/>
                </a:tc>
                <a:extLst>
                  <a:ext uri="{0D108BD9-81ED-4DB2-BD59-A6C34878D82A}">
                    <a16:rowId xmlns:a16="http://schemas.microsoft.com/office/drawing/2014/main" val="3858865320"/>
                  </a:ext>
                </a:extLst>
              </a:tr>
            </a:tbl>
          </a:graphicData>
        </a:graphic>
      </p:graphicFrame>
      <p:pic>
        <p:nvPicPr>
          <p:cNvPr id="9" name="Picture 8">
            <a:extLst>
              <a:ext uri="{FF2B5EF4-FFF2-40B4-BE49-F238E27FC236}">
                <a16:creationId xmlns:a16="http://schemas.microsoft.com/office/drawing/2014/main" id="{6618E4B1-8953-FF8D-B86B-D9D641231902}"/>
              </a:ext>
            </a:extLst>
          </p:cNvPr>
          <p:cNvPicPr>
            <a:picLocks noChangeAspect="1"/>
          </p:cNvPicPr>
          <p:nvPr/>
        </p:nvPicPr>
        <p:blipFill>
          <a:blip r:embed="rId2">
            <a:alphaModFix amt="20000"/>
          </a:blip>
          <a:stretch>
            <a:fillRect/>
          </a:stretch>
        </p:blipFill>
        <p:spPr>
          <a:xfrm>
            <a:off x="2639133" y="818643"/>
            <a:ext cx="9552867" cy="6039357"/>
          </a:xfrm>
          <a:prstGeom prst="rect">
            <a:avLst/>
          </a:prstGeom>
        </p:spPr>
      </p:pic>
    </p:spTree>
    <p:extLst>
      <p:ext uri="{BB962C8B-B14F-4D97-AF65-F5344CB8AC3E}">
        <p14:creationId xmlns:p14="http://schemas.microsoft.com/office/powerpoint/2010/main" val="39587313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403F23-AA85-8C80-4585-E550BE682D4A}"/>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2A042C77-7520-C17D-1743-839DEF20AF10}"/>
              </a:ext>
            </a:extLst>
          </p:cNvPr>
          <p:cNvSpPr txBox="1"/>
          <p:nvPr/>
        </p:nvSpPr>
        <p:spPr>
          <a:xfrm>
            <a:off x="481101" y="2053463"/>
            <a:ext cx="11288404" cy="369332"/>
          </a:xfrm>
          <a:prstGeom prst="rect">
            <a:avLst/>
          </a:prstGeom>
          <a:noFill/>
        </p:spPr>
        <p:txBody>
          <a:bodyPr wrap="square">
            <a:spAutoFit/>
          </a:bodyPr>
          <a:lstStyle/>
          <a:p>
            <a:pPr algn="l">
              <a:buFont typeface="+mj-lt"/>
              <a:buAutoNum type="arabicPeriod"/>
            </a:pPr>
            <a:endParaRPr lang="es-MX" b="0" i="0" dirty="0">
              <a:solidFill>
                <a:srgbClr val="111111"/>
              </a:solidFill>
              <a:effectLst/>
              <a:highlight>
                <a:srgbClr val="F7F7F7"/>
              </a:highlight>
              <a:latin typeface="-apple-system"/>
            </a:endParaRPr>
          </a:p>
        </p:txBody>
      </p:sp>
      <p:sp>
        <p:nvSpPr>
          <p:cNvPr id="7" name="Marcador de texto 1">
            <a:extLst>
              <a:ext uri="{FF2B5EF4-FFF2-40B4-BE49-F238E27FC236}">
                <a16:creationId xmlns:a16="http://schemas.microsoft.com/office/drawing/2014/main" id="{1A19C234-3179-8673-37D3-5F4FBD2350A3}"/>
              </a:ext>
            </a:extLst>
          </p:cNvPr>
          <p:cNvSpPr txBox="1">
            <a:spLocks/>
          </p:cNvSpPr>
          <p:nvPr/>
        </p:nvSpPr>
        <p:spPr>
          <a:xfrm>
            <a:off x="71526" y="469517"/>
            <a:ext cx="5068429" cy="99332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400" b="1" kern="1200">
                <a:solidFill>
                  <a:srgbClr val="014B7F"/>
                </a:solidFill>
                <a:latin typeface="Poppins" panose="00000500000000000000" pitchFamily="2" charset="0"/>
                <a:ea typeface="+mn-ea"/>
                <a:cs typeface="Poppins" panose="000005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MX" sz="2400" dirty="0"/>
              <a:t>Perfil del Comprador</a:t>
            </a:r>
          </a:p>
        </p:txBody>
      </p:sp>
      <p:sp>
        <p:nvSpPr>
          <p:cNvPr id="2" name="Text Placeholder 124">
            <a:extLst>
              <a:ext uri="{FF2B5EF4-FFF2-40B4-BE49-F238E27FC236}">
                <a16:creationId xmlns:a16="http://schemas.microsoft.com/office/drawing/2014/main" id="{0F1858FB-0BE3-8A13-D062-59F8873F46F8}"/>
              </a:ext>
            </a:extLst>
          </p:cNvPr>
          <p:cNvSpPr txBox="1">
            <a:spLocks/>
          </p:cNvSpPr>
          <p:nvPr/>
        </p:nvSpPr>
        <p:spPr>
          <a:xfrm>
            <a:off x="326136" y="1339727"/>
            <a:ext cx="6096000" cy="615553"/>
          </a:xfrm>
          <a:prstGeom prst="rect">
            <a:avLst/>
          </a:prstGeom>
        </p:spPr>
        <p:txBody>
          <a:bodyPr vert="horz" wrap="square" lIns="0" tIns="0" rIns="0" bIns="0" rtlCol="0" anchor="t">
            <a:spAutoFit/>
          </a:bodyPr>
          <a:lstStyle>
            <a:lvl1pPr marL="0" indent="0" algn="l" defTabSz="914400" rtl="0" eaLnBrk="1" latinLnBrk="0" hangingPunct="1">
              <a:lnSpc>
                <a:spcPct val="110000"/>
              </a:lnSpc>
              <a:spcBef>
                <a:spcPct val="0"/>
              </a:spcBef>
              <a:buFont typeface="Arial" pitchFamily="34" charset="0"/>
              <a:buNone/>
              <a:defRPr lang="en-US" sz="1400" b="0" i="0" kern="1200" dirty="0" smtClean="0">
                <a:solidFill>
                  <a:srgbClr val="63656A"/>
                </a:solidFill>
                <a:latin typeface="+mn-lt"/>
                <a:ea typeface="+mj-ea"/>
                <a:cs typeface="Arial" pitchFamily="34" charset="0"/>
              </a:defRPr>
            </a:lvl1pPr>
            <a:lvl2pPr marL="667512"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914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18872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146304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defRPr/>
            </a:pPr>
            <a:r>
              <a:rPr lang="es-ES" sz="2000" b="1" i="1" u="none" strike="noStrike" kern="1200" cap="none" spc="0" normalizeH="0" baseline="0" noProof="0" dirty="0">
                <a:ln>
                  <a:noFill/>
                </a:ln>
                <a:solidFill>
                  <a:schemeClr val="tx1"/>
                </a:solidFill>
                <a:effectLst/>
                <a:uLnTx/>
                <a:uFillTx/>
                <a:latin typeface="Arial"/>
                <a:cs typeface="Arial"/>
              </a:rPr>
              <a:t> Diferencias en los comportamientos de compra por generación</a:t>
            </a:r>
            <a:endParaRPr lang="en-US" sz="1600" b="1" i="1" u="none" strike="noStrike" kern="1200" cap="none" spc="0" normalizeH="0" baseline="0" noProof="0" dirty="0">
              <a:ln>
                <a:noFill/>
              </a:ln>
              <a:solidFill>
                <a:schemeClr val="tx1"/>
              </a:solidFill>
              <a:effectLst/>
              <a:uLnTx/>
              <a:uFillTx/>
              <a:latin typeface="Arial"/>
            </a:endParaRPr>
          </a:p>
        </p:txBody>
      </p:sp>
      <p:sp>
        <p:nvSpPr>
          <p:cNvPr id="3" name="TextBox 2">
            <a:extLst>
              <a:ext uri="{FF2B5EF4-FFF2-40B4-BE49-F238E27FC236}">
                <a16:creationId xmlns:a16="http://schemas.microsoft.com/office/drawing/2014/main" id="{52484EDB-5897-BE08-FEA1-6313727E82E1}"/>
              </a:ext>
            </a:extLst>
          </p:cNvPr>
          <p:cNvSpPr txBox="1"/>
          <p:nvPr/>
        </p:nvSpPr>
        <p:spPr>
          <a:xfrm>
            <a:off x="205440" y="2238129"/>
            <a:ext cx="4800600" cy="3970318"/>
          </a:xfrm>
          <a:prstGeom prst="rect">
            <a:avLst/>
          </a:prstGeom>
          <a:noFill/>
        </p:spPr>
        <p:txBody>
          <a:bodyPr wrap="square">
            <a:spAutoFit/>
          </a:bodyPr>
          <a:lstStyle/>
          <a:p>
            <a:pPr algn="just"/>
            <a:r>
              <a:rPr lang="es-ES" sz="1400" b="1" dirty="0">
                <a:latin typeface="Aptos Display" panose="020B0004020202020204" pitchFamily="34" charset="0"/>
              </a:rPr>
              <a:t>Generación Baby </a:t>
            </a:r>
            <a:r>
              <a:rPr lang="es-ES" sz="1400" b="1" dirty="0" err="1">
                <a:latin typeface="Aptos Display" panose="020B0004020202020204" pitchFamily="34" charset="0"/>
              </a:rPr>
              <a:t>Boomer</a:t>
            </a:r>
            <a:r>
              <a:rPr lang="es-ES" sz="1400" b="1" dirty="0">
                <a:latin typeface="Aptos Display" panose="020B0004020202020204" pitchFamily="34" charset="0"/>
              </a:rPr>
              <a:t> (1946-1964): </a:t>
            </a:r>
            <a:r>
              <a:rPr lang="es-ES" sz="1400" dirty="0">
                <a:latin typeface="Aptos Display" panose="020B0004020202020204" pitchFamily="34" charset="0"/>
              </a:rPr>
              <a:t>Tienden a valorar la estabilidad y los servicios de lujo. Suelen buscar experiencias tradicionales y están dispuestos a hacer una inversión a largo plazo.</a:t>
            </a:r>
          </a:p>
          <a:p>
            <a:pPr algn="just"/>
            <a:endParaRPr lang="es-ES" sz="1400" dirty="0">
              <a:latin typeface="Aptos Display" panose="020B0004020202020204" pitchFamily="34" charset="0"/>
            </a:endParaRPr>
          </a:p>
          <a:p>
            <a:pPr algn="just"/>
            <a:r>
              <a:rPr lang="es-ES" sz="1400" b="1" dirty="0">
                <a:latin typeface="Aptos Display" panose="020B0004020202020204" pitchFamily="34" charset="0"/>
              </a:rPr>
              <a:t>Generación X (1965-1980): </a:t>
            </a:r>
            <a:r>
              <a:rPr lang="es-ES" sz="1400" dirty="0">
                <a:latin typeface="Aptos Display" panose="020B0004020202020204" pitchFamily="34" charset="0"/>
              </a:rPr>
              <a:t>Prefieren un balance entre valor y calidad. Están más enfocados en la comodidad y la flexibilidad de las ofertas de tiempo compartido.</a:t>
            </a:r>
          </a:p>
          <a:p>
            <a:pPr algn="just"/>
            <a:endParaRPr lang="es-ES" sz="1400" dirty="0">
              <a:latin typeface="Aptos Display" panose="020B0004020202020204" pitchFamily="34" charset="0"/>
            </a:endParaRPr>
          </a:p>
          <a:p>
            <a:pPr algn="just"/>
            <a:r>
              <a:rPr lang="es-ES" sz="1400" b="1" dirty="0" err="1">
                <a:latin typeface="Aptos Display" panose="020B0004020202020204" pitchFamily="34" charset="0"/>
              </a:rPr>
              <a:t>Millennials</a:t>
            </a:r>
            <a:r>
              <a:rPr lang="es-ES" sz="1400" b="1" dirty="0">
                <a:latin typeface="Aptos Display" panose="020B0004020202020204" pitchFamily="34" charset="0"/>
              </a:rPr>
              <a:t> (1981-1996): </a:t>
            </a:r>
            <a:r>
              <a:rPr lang="es-ES" sz="1400" dirty="0">
                <a:latin typeface="Aptos Display" panose="020B0004020202020204" pitchFamily="34" charset="0"/>
              </a:rPr>
              <a:t>Buscan experiencias únicas, flexibles y sostenibles. Prefieren plataformas digitales y tienen una alta demanda de opciones personalizables.</a:t>
            </a:r>
          </a:p>
          <a:p>
            <a:pPr algn="just"/>
            <a:endParaRPr lang="es-ES" sz="1400" dirty="0">
              <a:latin typeface="Aptos Display" panose="020B0004020202020204" pitchFamily="34" charset="0"/>
            </a:endParaRPr>
          </a:p>
          <a:p>
            <a:pPr algn="just"/>
            <a:r>
              <a:rPr lang="es-ES" sz="1400" b="1" dirty="0">
                <a:latin typeface="Aptos Display" panose="020B0004020202020204" pitchFamily="34" charset="0"/>
              </a:rPr>
              <a:t>Generación Z (1997-2012): </a:t>
            </a:r>
            <a:r>
              <a:rPr lang="es-ES" sz="1400" dirty="0">
                <a:latin typeface="Aptos Display" panose="020B0004020202020204" pitchFamily="34" charset="0"/>
              </a:rPr>
              <a:t>Aunque no son los compradores principales en este mercado, muestran una preferencia por las opciones accesibles y digitales. La sostenibilidad también es clave para ellos.</a:t>
            </a:r>
          </a:p>
          <a:p>
            <a:pPr algn="just"/>
            <a:endParaRPr lang="es-ES" sz="1400" dirty="0">
              <a:latin typeface="Aptos Display" panose="020B0004020202020204" pitchFamily="34" charset="0"/>
            </a:endParaRPr>
          </a:p>
        </p:txBody>
      </p:sp>
      <p:pic>
        <p:nvPicPr>
          <p:cNvPr id="5" name="Picture 4">
            <a:extLst>
              <a:ext uri="{FF2B5EF4-FFF2-40B4-BE49-F238E27FC236}">
                <a16:creationId xmlns:a16="http://schemas.microsoft.com/office/drawing/2014/main" id="{48BAD164-3588-999E-457D-A3DD8357F05F}"/>
              </a:ext>
            </a:extLst>
          </p:cNvPr>
          <p:cNvPicPr>
            <a:picLocks noChangeAspect="1"/>
          </p:cNvPicPr>
          <p:nvPr/>
        </p:nvPicPr>
        <p:blipFill>
          <a:blip r:embed="rId2"/>
          <a:stretch>
            <a:fillRect/>
          </a:stretch>
        </p:blipFill>
        <p:spPr>
          <a:xfrm>
            <a:off x="5590379" y="2136537"/>
            <a:ext cx="6096000" cy="3423138"/>
          </a:xfrm>
          <a:prstGeom prst="rect">
            <a:avLst/>
          </a:prstGeom>
        </p:spPr>
      </p:pic>
    </p:spTree>
    <p:extLst>
      <p:ext uri="{BB962C8B-B14F-4D97-AF65-F5344CB8AC3E}">
        <p14:creationId xmlns:p14="http://schemas.microsoft.com/office/powerpoint/2010/main" val="23947393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0E5260-EE4D-58C5-1BEF-11161FCBFCE5}"/>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C642164C-26E0-C030-5C51-26753B6516C2}"/>
              </a:ext>
            </a:extLst>
          </p:cNvPr>
          <p:cNvSpPr txBox="1"/>
          <p:nvPr/>
        </p:nvSpPr>
        <p:spPr>
          <a:xfrm>
            <a:off x="481101" y="2053463"/>
            <a:ext cx="11288404" cy="369332"/>
          </a:xfrm>
          <a:prstGeom prst="rect">
            <a:avLst/>
          </a:prstGeom>
          <a:noFill/>
        </p:spPr>
        <p:txBody>
          <a:bodyPr wrap="square">
            <a:spAutoFit/>
          </a:bodyPr>
          <a:lstStyle/>
          <a:p>
            <a:pPr algn="l">
              <a:buFont typeface="+mj-lt"/>
              <a:buAutoNum type="arabicPeriod"/>
            </a:pPr>
            <a:endParaRPr lang="es-MX" b="0" i="0" dirty="0">
              <a:solidFill>
                <a:srgbClr val="111111"/>
              </a:solidFill>
              <a:effectLst/>
              <a:highlight>
                <a:srgbClr val="F7F7F7"/>
              </a:highlight>
              <a:latin typeface="-apple-system"/>
            </a:endParaRPr>
          </a:p>
        </p:txBody>
      </p:sp>
      <p:sp>
        <p:nvSpPr>
          <p:cNvPr id="3" name="TextBox 2">
            <a:extLst>
              <a:ext uri="{FF2B5EF4-FFF2-40B4-BE49-F238E27FC236}">
                <a16:creationId xmlns:a16="http://schemas.microsoft.com/office/drawing/2014/main" id="{E14D85E2-2327-A5F2-16EF-E106DD69D206}"/>
              </a:ext>
            </a:extLst>
          </p:cNvPr>
          <p:cNvSpPr txBox="1"/>
          <p:nvPr/>
        </p:nvSpPr>
        <p:spPr>
          <a:xfrm>
            <a:off x="1193684" y="1700036"/>
            <a:ext cx="11071121" cy="4401205"/>
          </a:xfrm>
          <a:prstGeom prst="rect">
            <a:avLst/>
          </a:prstGeom>
          <a:noFill/>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s-MX" sz="1400" b="1" i="0" u="none" strike="noStrike" kern="1200" cap="none" spc="0" normalizeH="0" baseline="0" noProof="0" dirty="0">
                <a:ln>
                  <a:noFill/>
                </a:ln>
                <a:solidFill>
                  <a:srgbClr val="111111"/>
                </a:solidFill>
                <a:effectLst/>
                <a:highlight>
                  <a:srgbClr val="FFFFFF"/>
                </a:highlight>
                <a:uLnTx/>
                <a:uFillTx/>
                <a:latin typeface="Aptos Display" panose="020B0004020202020204" pitchFamily="34" charset="0"/>
              </a:rPr>
              <a:t>Prioridades de viaje de Gen Z y </a:t>
            </a:r>
            <a:r>
              <a:rPr kumimoji="0" lang="es-MX" sz="1400" b="1" i="1" u="none" strike="noStrike" kern="1200" cap="none" spc="0" normalizeH="0" baseline="0" noProof="0" dirty="0" err="1">
                <a:ln>
                  <a:noFill/>
                </a:ln>
                <a:solidFill>
                  <a:srgbClr val="111111"/>
                </a:solidFill>
                <a:effectLst/>
                <a:highlight>
                  <a:srgbClr val="FFFFFF"/>
                </a:highlight>
                <a:uLnTx/>
                <a:uFillTx/>
                <a:latin typeface="Aptos Display" panose="020B0004020202020204" pitchFamily="34" charset="0"/>
              </a:rPr>
              <a:t>Millennials</a:t>
            </a:r>
            <a:endParaRPr kumimoji="0" lang="es-MX" sz="1400" b="0" i="1" u="none" strike="noStrike" kern="1200" cap="none" spc="0" normalizeH="0" baseline="0" noProof="0" dirty="0">
              <a:ln>
                <a:noFill/>
              </a:ln>
              <a:solidFill>
                <a:srgbClr val="111111"/>
              </a:solidFill>
              <a:effectLst/>
              <a:highlight>
                <a:srgbClr val="FFFFFF"/>
              </a:highlight>
              <a:uLnTx/>
              <a:uFillTx/>
              <a:latin typeface="Aptos Display" panose="020B0004020202020204" pitchFamily="34" charset="0"/>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400" b="0" i="0" u="none" strike="noStrike" kern="1200" cap="none" spc="0" normalizeH="0" baseline="0" noProof="0" dirty="0">
                <a:ln>
                  <a:noFill/>
                </a:ln>
                <a:solidFill>
                  <a:srgbClr val="111111"/>
                </a:solidFill>
                <a:effectLst/>
                <a:highlight>
                  <a:srgbClr val="FFFFFF"/>
                </a:highlight>
                <a:uLnTx/>
                <a:uFillTx/>
                <a:latin typeface="Aptos Display" panose="020B0004020202020204" pitchFamily="34" charset="0"/>
              </a:rPr>
              <a:t>Los viajes siguen siendo prioridad.</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400" b="0" i="0" u="none" strike="noStrike" kern="1200" cap="none" spc="0" normalizeH="0" baseline="0" noProof="0" dirty="0">
                <a:ln>
                  <a:noFill/>
                </a:ln>
                <a:solidFill>
                  <a:srgbClr val="111111"/>
                </a:solidFill>
                <a:effectLst/>
                <a:highlight>
                  <a:srgbClr val="FFFFFF"/>
                </a:highlight>
                <a:uLnTx/>
                <a:uFillTx/>
                <a:latin typeface="Aptos Display" panose="020B0004020202020204" pitchFamily="34" charset="0"/>
              </a:rPr>
              <a:t>Realizan dos o más viajes al año.</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400" b="0" i="0" u="none" strike="noStrike" kern="1200" cap="none" spc="0" normalizeH="0" baseline="0" noProof="0" dirty="0">
                <a:ln>
                  <a:noFill/>
                </a:ln>
                <a:solidFill>
                  <a:srgbClr val="111111"/>
                </a:solidFill>
                <a:effectLst/>
                <a:highlight>
                  <a:srgbClr val="FFFFFF"/>
                </a:highlight>
                <a:uLnTx/>
                <a:uFillTx/>
                <a:latin typeface="Aptos Display" panose="020B0004020202020204" pitchFamily="34" charset="0"/>
              </a:rPr>
              <a:t>La edad promedio de los nuevos compradores es 39 años.</a:t>
            </a:r>
          </a:p>
          <a:p>
            <a:pPr marL="342900" indent="-342900" algn="l">
              <a:buFont typeface="+mj-lt"/>
              <a:buAutoNum type="arabicPeriod"/>
            </a:pPr>
            <a:endParaRPr lang="es-MX" sz="1400" b="1" i="0" dirty="0">
              <a:solidFill>
                <a:srgbClr val="111111"/>
              </a:solidFill>
              <a:effectLst/>
              <a:highlight>
                <a:srgbClr val="FFFFFF"/>
              </a:highlight>
              <a:latin typeface="Aptos Display" panose="020B0004020202020204" pitchFamily="34" charset="0"/>
            </a:endParaRPr>
          </a:p>
          <a:p>
            <a:pPr marL="342900" indent="-342900" algn="l">
              <a:buFont typeface="+mj-lt"/>
              <a:buAutoNum type="arabicPeriod"/>
            </a:pPr>
            <a:r>
              <a:rPr lang="es-MX" sz="1400" b="1" i="0" dirty="0">
                <a:solidFill>
                  <a:srgbClr val="111111"/>
                </a:solidFill>
                <a:effectLst/>
                <a:highlight>
                  <a:srgbClr val="FFFFFF"/>
                </a:highlight>
                <a:latin typeface="Aptos Display" panose="020B0004020202020204" pitchFamily="34" charset="0"/>
              </a:rPr>
              <a:t>Miembros de un Club Exclusivo</a:t>
            </a:r>
            <a:endParaRPr lang="es-MX" sz="1400" b="0" i="0" dirty="0">
              <a:solidFill>
                <a:srgbClr val="111111"/>
              </a:solidFill>
              <a:effectLst/>
              <a:highlight>
                <a:srgbClr val="FFFFFF"/>
              </a:highlight>
              <a:latin typeface="Aptos Display" panose="020B0004020202020204" pitchFamily="34" charset="0"/>
            </a:endParaRPr>
          </a:p>
          <a:p>
            <a:pPr marL="742950" lvl="1" indent="-285750" algn="l">
              <a:buFont typeface="Arial" panose="020B0604020202020204" pitchFamily="34" charset="0"/>
              <a:buChar char="•"/>
            </a:pPr>
            <a:r>
              <a:rPr lang="es-MX" sz="1400" dirty="0">
                <a:solidFill>
                  <a:srgbClr val="111111"/>
                </a:solidFill>
                <a:highlight>
                  <a:srgbClr val="FFFFFF"/>
                </a:highlight>
                <a:latin typeface="Aptos Display" panose="020B0004020202020204" pitchFamily="34" charset="0"/>
              </a:rPr>
              <a:t>L</a:t>
            </a:r>
            <a:r>
              <a:rPr lang="es-MX" sz="1400" b="0" i="0" dirty="0">
                <a:solidFill>
                  <a:srgbClr val="111111"/>
                </a:solidFill>
                <a:effectLst/>
                <a:highlight>
                  <a:srgbClr val="FFFFFF"/>
                </a:highlight>
                <a:latin typeface="Aptos Display" panose="020B0004020202020204" pitchFamily="34" charset="0"/>
              </a:rPr>
              <a:t>ealtad a la marca y consistencia son clave.</a:t>
            </a:r>
          </a:p>
          <a:p>
            <a:pPr marL="742950" lvl="1" indent="-285750">
              <a:buFont typeface="Arial" panose="020B0604020202020204" pitchFamily="34" charset="0"/>
              <a:buChar char="•"/>
            </a:pPr>
            <a:r>
              <a:rPr lang="es-MX" sz="1400" dirty="0">
                <a:solidFill>
                  <a:srgbClr val="111111"/>
                </a:solidFill>
                <a:highlight>
                  <a:srgbClr val="FFFFFF"/>
                </a:highlight>
                <a:latin typeface="Aptos Display" panose="020B0004020202020204" pitchFamily="34" charset="0"/>
              </a:rPr>
              <a:t>Más allá del alojamiento en si  se trata del aspecto social de viajar. </a:t>
            </a:r>
          </a:p>
          <a:p>
            <a:pPr marL="742950" lvl="1" indent="-285750">
              <a:buFont typeface="Arial" panose="020B0604020202020204" pitchFamily="34" charset="0"/>
              <a:buChar char="•"/>
            </a:pPr>
            <a:r>
              <a:rPr lang="es-MX" sz="1400" dirty="0">
                <a:solidFill>
                  <a:srgbClr val="111111"/>
                </a:solidFill>
                <a:highlight>
                  <a:srgbClr val="FFFFFF"/>
                </a:highlight>
                <a:latin typeface="Aptos Display" panose="020B0004020202020204" pitchFamily="34" charset="0"/>
              </a:rPr>
              <a:t>Atmósfera de club fomenta conexiones y sentido de pertenencia.</a:t>
            </a:r>
          </a:p>
          <a:p>
            <a:pPr marL="342900" indent="-342900">
              <a:buFont typeface="+mj-lt"/>
              <a:buAutoNum type="arabicPeriod" startAt="5"/>
            </a:pPr>
            <a:endParaRPr lang="es-MX" sz="1400" b="1" i="0" dirty="0">
              <a:solidFill>
                <a:srgbClr val="111111"/>
              </a:solidFill>
              <a:effectLst/>
              <a:highlight>
                <a:srgbClr val="FFFFFF"/>
              </a:highlight>
              <a:latin typeface="Aptos Display" panose="020B0004020202020204" pitchFamily="34" charset="0"/>
            </a:endParaRPr>
          </a:p>
          <a:p>
            <a:pPr marL="342900" indent="-342900">
              <a:buFont typeface="+mj-lt"/>
              <a:buAutoNum type="arabicPeriod" startAt="3"/>
            </a:pPr>
            <a:r>
              <a:rPr lang="es-MX" sz="1400" b="1" i="0" dirty="0">
                <a:solidFill>
                  <a:srgbClr val="111111"/>
                </a:solidFill>
                <a:effectLst/>
                <a:highlight>
                  <a:srgbClr val="FFFFFF"/>
                </a:highlight>
                <a:latin typeface="Aptos Display" panose="020B0004020202020204" pitchFamily="34" charset="0"/>
              </a:rPr>
              <a:t>Facilidad de uso y </a:t>
            </a:r>
            <a:r>
              <a:rPr lang="es-MX" sz="1400" b="1" dirty="0">
                <a:solidFill>
                  <a:srgbClr val="111111"/>
                </a:solidFill>
                <a:highlight>
                  <a:srgbClr val="FFFFFF"/>
                </a:highlight>
                <a:latin typeface="Aptos Display" panose="020B0004020202020204" pitchFamily="34" charset="0"/>
              </a:rPr>
              <a:t>f</a:t>
            </a:r>
            <a:r>
              <a:rPr lang="es-MX" sz="1400" b="1" i="0" dirty="0">
                <a:solidFill>
                  <a:srgbClr val="111111"/>
                </a:solidFill>
                <a:effectLst/>
                <a:highlight>
                  <a:srgbClr val="FFFFFF"/>
                </a:highlight>
                <a:latin typeface="Aptos Display" panose="020B0004020202020204" pitchFamily="34" charset="0"/>
              </a:rPr>
              <a:t>lexibilidad</a:t>
            </a:r>
          </a:p>
          <a:p>
            <a:pPr marL="800100" lvl="1" indent="-342900">
              <a:buFont typeface="Arial" panose="020B0604020202020204" pitchFamily="34" charset="0"/>
              <a:buChar char="•"/>
            </a:pPr>
            <a:r>
              <a:rPr lang="es-MX" sz="1400" b="0" i="0" dirty="0">
                <a:solidFill>
                  <a:srgbClr val="111111"/>
                </a:solidFill>
                <a:effectLst/>
                <a:highlight>
                  <a:srgbClr val="FFFFFF"/>
                </a:highlight>
                <a:latin typeface="Aptos Display" panose="020B0004020202020204" pitchFamily="34" charset="0"/>
              </a:rPr>
              <a:t>Importancia de experiencias digitales.</a:t>
            </a:r>
          </a:p>
          <a:p>
            <a:pPr marL="800100" lvl="1" indent="-342900">
              <a:buFont typeface="Arial" panose="020B0604020202020204" pitchFamily="34" charset="0"/>
              <a:buChar char="•"/>
            </a:pPr>
            <a:r>
              <a:rPr lang="es-MX" sz="1400" dirty="0">
                <a:solidFill>
                  <a:srgbClr val="111111"/>
                </a:solidFill>
                <a:highlight>
                  <a:srgbClr val="FFFFFF"/>
                </a:highlight>
                <a:latin typeface="Aptos Display" panose="020B0004020202020204" pitchFamily="34" charset="0"/>
              </a:rPr>
              <a:t>A</a:t>
            </a:r>
            <a:r>
              <a:rPr lang="es-MX" sz="1400" b="0" i="0" dirty="0">
                <a:solidFill>
                  <a:srgbClr val="111111"/>
                </a:solidFill>
                <a:effectLst/>
                <a:highlight>
                  <a:srgbClr val="FFFFFF"/>
                </a:highlight>
                <a:latin typeface="Aptos Display" panose="020B0004020202020204" pitchFamily="34" charset="0"/>
              </a:rPr>
              <a:t>cceso a grandes </a:t>
            </a:r>
            <a:r>
              <a:rPr lang="es-MX" sz="1400" dirty="0">
                <a:solidFill>
                  <a:srgbClr val="111111"/>
                </a:solidFill>
                <a:highlight>
                  <a:srgbClr val="FFFFFF"/>
                </a:highlight>
                <a:latin typeface="Aptos Display" panose="020B0004020202020204" pitchFamily="34" charset="0"/>
              </a:rPr>
              <a:t>destinos </a:t>
            </a:r>
          </a:p>
          <a:p>
            <a:pPr marL="800100" lvl="1" indent="-342900">
              <a:buFont typeface="Arial" panose="020B0604020202020204" pitchFamily="34" charset="0"/>
              <a:buChar char="•"/>
            </a:pPr>
            <a:r>
              <a:rPr lang="es-MX" sz="1400" b="0" i="0" dirty="0">
                <a:solidFill>
                  <a:srgbClr val="111111"/>
                </a:solidFill>
                <a:effectLst/>
                <a:highlight>
                  <a:srgbClr val="FFFFFF"/>
                </a:highlight>
                <a:latin typeface="Aptos Display" panose="020B0004020202020204" pitchFamily="34" charset="0"/>
              </a:rPr>
              <a:t>Ofrecer experiencias diversas y alojamientos flexibles.</a:t>
            </a:r>
          </a:p>
          <a:p>
            <a:pPr marL="800100" lvl="1" indent="-342900" algn="l">
              <a:buFont typeface="+mj-lt"/>
              <a:buAutoNum type="arabicPeriod" startAt="3"/>
            </a:pPr>
            <a:endParaRPr lang="es-MX" sz="1400" b="0" i="0" dirty="0">
              <a:solidFill>
                <a:srgbClr val="111111"/>
              </a:solidFill>
              <a:effectLst/>
              <a:highlight>
                <a:srgbClr val="FFFFFF"/>
              </a:highlight>
              <a:latin typeface="Aptos Display" panose="020B0004020202020204" pitchFamily="34" charset="0"/>
            </a:endParaRPr>
          </a:p>
          <a:p>
            <a:pPr marL="342900" indent="-342900" algn="l">
              <a:buFont typeface="+mj-lt"/>
              <a:buAutoNum type="arabicPeriod" startAt="4"/>
            </a:pPr>
            <a:r>
              <a:rPr lang="es-MX" sz="1400" b="1" i="0" dirty="0">
                <a:solidFill>
                  <a:srgbClr val="111111"/>
                </a:solidFill>
                <a:effectLst/>
                <a:highlight>
                  <a:srgbClr val="FFFFFF"/>
                </a:highlight>
                <a:latin typeface="Aptos Display" panose="020B0004020202020204" pitchFamily="34" charset="0"/>
              </a:rPr>
              <a:t>Experiencias </a:t>
            </a:r>
            <a:r>
              <a:rPr lang="es-MX" sz="1400" b="1" dirty="0">
                <a:solidFill>
                  <a:srgbClr val="111111"/>
                </a:solidFill>
                <a:highlight>
                  <a:srgbClr val="FFFFFF"/>
                </a:highlight>
                <a:latin typeface="Aptos Display" panose="020B0004020202020204" pitchFamily="34" charset="0"/>
              </a:rPr>
              <a:t>ú</a:t>
            </a:r>
            <a:r>
              <a:rPr lang="es-MX" sz="1400" b="1" i="0" dirty="0">
                <a:solidFill>
                  <a:srgbClr val="111111"/>
                </a:solidFill>
                <a:effectLst/>
                <a:highlight>
                  <a:srgbClr val="FFFFFF"/>
                </a:highlight>
                <a:latin typeface="Aptos Display" panose="020B0004020202020204" pitchFamily="34" charset="0"/>
              </a:rPr>
              <a:t>nicas</a:t>
            </a:r>
            <a:endParaRPr lang="es-MX" sz="1400" b="0" i="0" dirty="0">
              <a:solidFill>
                <a:srgbClr val="111111"/>
              </a:solidFill>
              <a:effectLst/>
              <a:highlight>
                <a:srgbClr val="FFFFFF"/>
              </a:highlight>
              <a:latin typeface="Aptos Display" panose="020B0004020202020204" pitchFamily="34" charset="0"/>
            </a:endParaRPr>
          </a:p>
          <a:p>
            <a:pPr marL="800100" lvl="1" indent="-342900" algn="l">
              <a:buFont typeface="Arial" panose="020B0604020202020204" pitchFamily="34" charset="0"/>
              <a:buChar char="•"/>
            </a:pPr>
            <a:r>
              <a:rPr lang="es-MX" sz="1400" b="0" i="0" dirty="0">
                <a:solidFill>
                  <a:srgbClr val="111111"/>
                </a:solidFill>
                <a:effectLst/>
                <a:highlight>
                  <a:srgbClr val="FFFFFF"/>
                </a:highlight>
                <a:latin typeface="Aptos Display" panose="020B0004020202020204" pitchFamily="34" charset="0"/>
              </a:rPr>
              <a:t>Preferencia por experiencias </a:t>
            </a:r>
          </a:p>
          <a:p>
            <a:pPr marL="800100" lvl="1" indent="-342900" algn="l">
              <a:buFont typeface="Arial" panose="020B0604020202020204" pitchFamily="34" charset="0"/>
              <a:buChar char="•"/>
            </a:pPr>
            <a:r>
              <a:rPr lang="es-MX" sz="1400" b="0" i="0" dirty="0">
                <a:solidFill>
                  <a:srgbClr val="111111"/>
                </a:solidFill>
                <a:effectLst/>
                <a:highlight>
                  <a:srgbClr val="FFFFFF"/>
                </a:highlight>
                <a:latin typeface="Aptos Display" panose="020B0004020202020204" pitchFamily="34" charset="0"/>
              </a:rPr>
              <a:t>Viajes de aventura, experiencias culinarias y actividades de bienestar son populares.</a:t>
            </a:r>
          </a:p>
          <a:p>
            <a:pPr marL="800100" lvl="1" indent="-342900" algn="l">
              <a:buFont typeface="Arial" panose="020B0604020202020204" pitchFamily="34" charset="0"/>
              <a:buChar char="•"/>
            </a:pPr>
            <a:r>
              <a:rPr lang="es-MX" sz="1400" b="0" i="0" dirty="0">
                <a:solidFill>
                  <a:srgbClr val="111111"/>
                </a:solidFill>
                <a:effectLst/>
                <a:highlight>
                  <a:srgbClr val="FFFFFF"/>
                </a:highlight>
                <a:latin typeface="Aptos Display" panose="020B0004020202020204" pitchFamily="34" charset="0"/>
              </a:rPr>
              <a:t>La tecnología y la transformación digital son cruciales para cumplir con las expectativas.</a:t>
            </a:r>
          </a:p>
          <a:p>
            <a:pPr marL="800100" lvl="1" indent="-342900" algn="l">
              <a:buFont typeface="+mj-lt"/>
              <a:buAutoNum type="arabicPeriod" startAt="4"/>
            </a:pPr>
            <a:endParaRPr lang="es-MX" sz="1400" b="0" i="0" dirty="0">
              <a:solidFill>
                <a:srgbClr val="111111"/>
              </a:solidFill>
              <a:effectLst/>
              <a:highlight>
                <a:srgbClr val="FFFFFF"/>
              </a:highlight>
              <a:latin typeface="Aptos Display" panose="020B0004020202020204" pitchFamily="34" charset="0"/>
            </a:endParaRPr>
          </a:p>
        </p:txBody>
      </p:sp>
      <p:sp>
        <p:nvSpPr>
          <p:cNvPr id="5" name="Text Placeholder 6">
            <a:extLst>
              <a:ext uri="{FF2B5EF4-FFF2-40B4-BE49-F238E27FC236}">
                <a16:creationId xmlns:a16="http://schemas.microsoft.com/office/drawing/2014/main" id="{FFDEFBA7-0665-203B-9C40-86336300AF88}"/>
              </a:ext>
            </a:extLst>
          </p:cNvPr>
          <p:cNvSpPr>
            <a:spLocks noGrp="1"/>
          </p:cNvSpPr>
          <p:nvPr>
            <p:ph type="body" sz="quarter" idx="15"/>
          </p:nvPr>
        </p:nvSpPr>
        <p:spPr>
          <a:xfrm>
            <a:off x="309651" y="411402"/>
            <a:ext cx="5068429" cy="993321"/>
          </a:xfrm>
        </p:spPr>
        <p:txBody>
          <a:bodyPr/>
          <a:lstStyle/>
          <a:p>
            <a:r>
              <a:rPr lang="es-MX" sz="2400" dirty="0"/>
              <a:t>Perfil del Comprador</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MX" sz="2000" dirty="0"/>
              <a:t>Atrayendo</a:t>
            </a:r>
            <a:r>
              <a:rPr kumimoji="0" lang="es-MX" sz="2000" b="1" i="0" u="none" strike="noStrike" kern="1200" cap="none" spc="0" normalizeH="0" baseline="0" noProof="0" dirty="0">
                <a:ln>
                  <a:noFill/>
                </a:ln>
                <a:solidFill>
                  <a:srgbClr val="014B7F"/>
                </a:solidFill>
                <a:effectLst/>
                <a:uLnTx/>
                <a:uFillTx/>
                <a:latin typeface="Poppins" panose="00000500000000000000" pitchFamily="2" charset="0"/>
                <a:ea typeface="+mn-ea"/>
                <a:cs typeface="Poppins" panose="00000500000000000000" pitchFamily="2" charset="0"/>
              </a:rPr>
              <a:t> a la próxima generación</a:t>
            </a:r>
          </a:p>
          <a:p>
            <a:endParaRPr lang="es-MX" dirty="0"/>
          </a:p>
        </p:txBody>
      </p:sp>
      <p:sp>
        <p:nvSpPr>
          <p:cNvPr id="6" name="Marcador de texto 1">
            <a:extLst>
              <a:ext uri="{FF2B5EF4-FFF2-40B4-BE49-F238E27FC236}">
                <a16:creationId xmlns:a16="http://schemas.microsoft.com/office/drawing/2014/main" id="{9BF0B49B-1A5B-B154-EF22-C87A983C8FFF}"/>
              </a:ext>
            </a:extLst>
          </p:cNvPr>
          <p:cNvSpPr txBox="1">
            <a:spLocks/>
          </p:cNvSpPr>
          <p:nvPr/>
        </p:nvSpPr>
        <p:spPr>
          <a:xfrm>
            <a:off x="71526" y="469517"/>
            <a:ext cx="5068429" cy="99332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400" b="1" kern="1200">
                <a:solidFill>
                  <a:srgbClr val="014B7F"/>
                </a:solidFill>
                <a:latin typeface="Poppins" panose="00000500000000000000" pitchFamily="2" charset="0"/>
                <a:ea typeface="+mn-ea"/>
                <a:cs typeface="Poppins" panose="000005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s-MX" sz="2400" dirty="0"/>
          </a:p>
        </p:txBody>
      </p:sp>
    </p:spTree>
    <p:extLst>
      <p:ext uri="{BB962C8B-B14F-4D97-AF65-F5344CB8AC3E}">
        <p14:creationId xmlns:p14="http://schemas.microsoft.com/office/powerpoint/2010/main" val="27640653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Marcador de texto 18">
            <a:extLst>
              <a:ext uri="{FF2B5EF4-FFF2-40B4-BE49-F238E27FC236}">
                <a16:creationId xmlns:a16="http://schemas.microsoft.com/office/drawing/2014/main" id="{F66330C1-0793-1359-DF0F-67DD5D8C1FB1}"/>
              </a:ext>
            </a:extLst>
          </p:cNvPr>
          <p:cNvSpPr>
            <a:spLocks noGrp="1"/>
          </p:cNvSpPr>
          <p:nvPr>
            <p:ph type="body" sz="quarter" idx="11"/>
          </p:nvPr>
        </p:nvSpPr>
        <p:spPr>
          <a:xfrm>
            <a:off x="454972" y="502882"/>
            <a:ext cx="4497243" cy="859126"/>
          </a:xfrm>
        </p:spPr>
        <p:txBody>
          <a:bodyPr/>
          <a:lstStyle/>
          <a:p>
            <a:r>
              <a:rPr lang="es-MX" sz="2400" dirty="0"/>
              <a:t>Decisiones de Compra</a:t>
            </a:r>
          </a:p>
        </p:txBody>
      </p:sp>
      <p:sp>
        <p:nvSpPr>
          <p:cNvPr id="20" name="Marcador de texto 19">
            <a:extLst>
              <a:ext uri="{FF2B5EF4-FFF2-40B4-BE49-F238E27FC236}">
                <a16:creationId xmlns:a16="http://schemas.microsoft.com/office/drawing/2014/main" id="{7E885374-C59D-A5B6-144F-7B01BE9109CA}"/>
              </a:ext>
            </a:extLst>
          </p:cNvPr>
          <p:cNvSpPr>
            <a:spLocks noGrp="1"/>
          </p:cNvSpPr>
          <p:nvPr>
            <p:ph type="body" sz="quarter" idx="12"/>
          </p:nvPr>
        </p:nvSpPr>
        <p:spPr>
          <a:xfrm>
            <a:off x="454972" y="2102293"/>
            <a:ext cx="5129751" cy="3493570"/>
          </a:xfrm>
        </p:spPr>
        <p:txBody>
          <a:bodyPr/>
          <a:lstStyle/>
          <a:p>
            <a:pPr algn="just"/>
            <a:r>
              <a:rPr lang="es-MX" sz="1500" dirty="0">
                <a:solidFill>
                  <a:schemeClr val="tx1"/>
                </a:solidFill>
                <a:latin typeface="Aptos Display" panose="020B0004020202020204" pitchFamily="34" charset="0"/>
                <a:cs typeface="+mn-cs"/>
              </a:rPr>
              <a:t>Entre las razones por las cuales los propietarios compraron un tiempo compartido, casi la mitad considera la calidad de los alojamientos / amenidades (48%) y la ubicación del resort (47%) como importantes para ellos.</a:t>
            </a:r>
          </a:p>
          <a:p>
            <a:pPr algn="just"/>
            <a:endParaRPr lang="es-MX" sz="1500" dirty="0">
              <a:solidFill>
                <a:schemeClr val="tx1"/>
              </a:solidFill>
              <a:latin typeface="Aptos Display" panose="020B0004020202020204" pitchFamily="34" charset="0"/>
              <a:cs typeface="+mn-cs"/>
            </a:endParaRPr>
          </a:p>
          <a:p>
            <a:pPr algn="just"/>
            <a:r>
              <a:rPr lang="es-MX" sz="1500" dirty="0">
                <a:solidFill>
                  <a:schemeClr val="tx1"/>
                </a:solidFill>
                <a:latin typeface="Aptos Display" panose="020B0004020202020204" pitchFamily="34" charset="0"/>
                <a:cs typeface="+mn-cs"/>
              </a:rPr>
              <a:t>Cuando se les pidió seleccionar el aspecto más importante, la </a:t>
            </a:r>
            <a:r>
              <a:rPr lang="es-MX" sz="1500" i="1" dirty="0">
                <a:solidFill>
                  <a:schemeClr val="tx1"/>
                </a:solidFill>
                <a:latin typeface="Aptos Display" panose="020B0004020202020204" pitchFamily="34" charset="0"/>
                <a:cs typeface="+mn-cs"/>
              </a:rPr>
              <a:t>flexibilidad </a:t>
            </a:r>
            <a:r>
              <a:rPr lang="es-MX" sz="1500" dirty="0">
                <a:solidFill>
                  <a:schemeClr val="tx1"/>
                </a:solidFill>
                <a:latin typeface="Aptos Display" panose="020B0004020202020204" pitchFamily="34" charset="0"/>
                <a:cs typeface="+mn-cs"/>
              </a:rPr>
              <a:t>general del producto encabeza la lista.</a:t>
            </a:r>
          </a:p>
          <a:p>
            <a:pPr algn="just"/>
            <a:endParaRPr lang="es-MX" sz="1500" dirty="0">
              <a:solidFill>
                <a:schemeClr val="tx1"/>
              </a:solidFill>
              <a:latin typeface="Aptos Display" panose="020B0004020202020204" pitchFamily="34" charset="0"/>
              <a:cs typeface="+mn-cs"/>
            </a:endParaRPr>
          </a:p>
          <a:p>
            <a:pPr algn="just"/>
            <a:r>
              <a:rPr lang="es-MX" sz="1500" dirty="0">
                <a:solidFill>
                  <a:schemeClr val="tx1"/>
                </a:solidFill>
                <a:latin typeface="Aptos Display" panose="020B0004020202020204" pitchFamily="34" charset="0"/>
                <a:cs typeface="+mn-cs"/>
              </a:rPr>
              <a:t>Los propietarios son menos propensos a considerar la satisfacción con la invitación y la presentación de ventas (23%) como una razón importante para comprar un tiempo compartido.</a:t>
            </a:r>
          </a:p>
        </p:txBody>
      </p:sp>
      <p:sp>
        <p:nvSpPr>
          <p:cNvPr id="21" name="Marcador de texto 20">
            <a:extLst>
              <a:ext uri="{FF2B5EF4-FFF2-40B4-BE49-F238E27FC236}">
                <a16:creationId xmlns:a16="http://schemas.microsoft.com/office/drawing/2014/main" id="{A2B406A6-C682-C756-6FD1-B6252E0B6C1B}"/>
              </a:ext>
            </a:extLst>
          </p:cNvPr>
          <p:cNvSpPr>
            <a:spLocks noGrp="1"/>
          </p:cNvSpPr>
          <p:nvPr>
            <p:ph type="body" sz="quarter" idx="13"/>
          </p:nvPr>
        </p:nvSpPr>
        <p:spPr>
          <a:xfrm>
            <a:off x="1098550" y="1461721"/>
            <a:ext cx="5875338" cy="384175"/>
          </a:xfrm>
        </p:spPr>
        <p:txBody>
          <a:bodyPr/>
          <a:lstStyle/>
          <a:p>
            <a:r>
              <a:rPr lang="es-MX" dirty="0"/>
              <a:t>ARDA OWNERS REPORT 2024</a:t>
            </a:r>
          </a:p>
        </p:txBody>
      </p:sp>
      <p:pic>
        <p:nvPicPr>
          <p:cNvPr id="8" name="Picture 7">
            <a:extLst>
              <a:ext uri="{FF2B5EF4-FFF2-40B4-BE49-F238E27FC236}">
                <a16:creationId xmlns:a16="http://schemas.microsoft.com/office/drawing/2014/main" id="{E1FFEED3-7CB8-CCBD-E90A-FCC0576DDE6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83287" y="1055818"/>
            <a:ext cx="5349184" cy="5586520"/>
          </a:xfrm>
          <a:prstGeom prst="rect">
            <a:avLst/>
          </a:prstGeom>
        </p:spPr>
      </p:pic>
    </p:spTree>
    <p:extLst>
      <p:ext uri="{BB962C8B-B14F-4D97-AF65-F5344CB8AC3E}">
        <p14:creationId xmlns:p14="http://schemas.microsoft.com/office/powerpoint/2010/main" val="4181390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Placeholder 1">
            <a:extLst>
              <a:ext uri="{FF2B5EF4-FFF2-40B4-BE49-F238E27FC236}">
                <a16:creationId xmlns:a16="http://schemas.microsoft.com/office/drawing/2014/main" id="{3796BB35-C47E-C2DE-C34C-BB47F2A68C29}"/>
              </a:ext>
            </a:extLst>
          </p:cNvPr>
          <p:cNvPicPr>
            <a:picLocks noGrp="1" noChangeAspect="1"/>
          </p:cNvPicPr>
          <p:nvPr>
            <p:ph type="pic" sz="quarter" idx="10"/>
          </p:nvPr>
        </p:nvPicPr>
        <p:blipFill>
          <a:blip r:embed="rId3" cstate="email">
            <a:extLst>
              <a:ext uri="{28A0092B-C50C-407E-A947-70E740481C1C}">
                <a14:useLocalDpi xmlns:a14="http://schemas.microsoft.com/office/drawing/2010/main"/>
              </a:ext>
            </a:extLst>
          </a:blip>
          <a:srcRect/>
          <a:stretch>
            <a:fillRect/>
          </a:stretch>
        </p:blipFill>
        <p:spPr>
          <a:xfrm>
            <a:off x="6096000" y="0"/>
            <a:ext cx="5707955" cy="6839802"/>
          </a:xfrm>
          <a:prstGeom prst="rect">
            <a:avLst/>
          </a:prstGeom>
        </p:spPr>
      </p:pic>
      <p:sp>
        <p:nvSpPr>
          <p:cNvPr id="19" name="Marcador de texto 18">
            <a:extLst>
              <a:ext uri="{FF2B5EF4-FFF2-40B4-BE49-F238E27FC236}">
                <a16:creationId xmlns:a16="http://schemas.microsoft.com/office/drawing/2014/main" id="{F66330C1-0793-1359-DF0F-67DD5D8C1FB1}"/>
              </a:ext>
            </a:extLst>
          </p:cNvPr>
          <p:cNvSpPr>
            <a:spLocks noGrp="1"/>
          </p:cNvSpPr>
          <p:nvPr>
            <p:ph type="body" sz="quarter" idx="11"/>
          </p:nvPr>
        </p:nvSpPr>
        <p:spPr>
          <a:xfrm>
            <a:off x="333375" y="433964"/>
            <a:ext cx="4761139" cy="859126"/>
          </a:xfrm>
        </p:spPr>
        <p:txBody>
          <a:bodyPr/>
          <a:lstStyle/>
          <a:p>
            <a:r>
              <a:rPr lang="es-MX" sz="2400" dirty="0"/>
              <a:t>Demográficos de Nuevos Propietarios</a:t>
            </a:r>
          </a:p>
        </p:txBody>
      </p:sp>
      <p:sp>
        <p:nvSpPr>
          <p:cNvPr id="20" name="Marcador de texto 19">
            <a:extLst>
              <a:ext uri="{FF2B5EF4-FFF2-40B4-BE49-F238E27FC236}">
                <a16:creationId xmlns:a16="http://schemas.microsoft.com/office/drawing/2014/main" id="{7E885374-C59D-A5B6-144F-7B01BE9109CA}"/>
              </a:ext>
            </a:extLst>
          </p:cNvPr>
          <p:cNvSpPr>
            <a:spLocks noGrp="1"/>
          </p:cNvSpPr>
          <p:nvPr>
            <p:ph type="body" sz="quarter" idx="12"/>
          </p:nvPr>
        </p:nvSpPr>
        <p:spPr>
          <a:xfrm>
            <a:off x="491691" y="2486933"/>
            <a:ext cx="5147109" cy="2095500"/>
          </a:xfrm>
        </p:spPr>
        <p:txBody>
          <a:bodyPr/>
          <a:lstStyle/>
          <a:p>
            <a:pPr algn="just"/>
            <a:r>
              <a:rPr lang="es-MX" sz="1500" dirty="0">
                <a:solidFill>
                  <a:schemeClr val="tx1"/>
                </a:solidFill>
                <a:latin typeface="Aptos Display" panose="020B0004020202020204" pitchFamily="34" charset="0"/>
                <a:cs typeface="+mn-cs"/>
              </a:rPr>
              <a:t>Aquellos que compraron recientemente un tiempo compartido por primera vez tienden a ser más jóvenes, empleados de tiempo completo y con alto poder adquisitivo.</a:t>
            </a:r>
          </a:p>
          <a:p>
            <a:pPr algn="just"/>
            <a:endParaRPr lang="es-MX" sz="1500" dirty="0">
              <a:solidFill>
                <a:schemeClr val="tx1"/>
              </a:solidFill>
              <a:latin typeface="Aptos Display" panose="020B0004020202020204" pitchFamily="34" charset="0"/>
              <a:cs typeface="+mn-cs"/>
            </a:endParaRPr>
          </a:p>
          <a:p>
            <a:pPr algn="just"/>
            <a:r>
              <a:rPr lang="es-MX" sz="1500" dirty="0">
                <a:solidFill>
                  <a:schemeClr val="tx1"/>
                </a:solidFill>
                <a:latin typeface="Aptos Display" panose="020B0004020202020204" pitchFamily="34" charset="0"/>
                <a:cs typeface="+mn-cs"/>
              </a:rPr>
              <a:t>Además, los nuevos propietarios están más satisfechos con su experiencia de tiempo compartido en general y son más propensos a recomendar la propiedad de tiempo compartido a otros.</a:t>
            </a:r>
          </a:p>
          <a:p>
            <a:pPr algn="just"/>
            <a:endParaRPr lang="es-MX" sz="1500" dirty="0">
              <a:solidFill>
                <a:schemeClr val="tx1"/>
              </a:solidFill>
              <a:latin typeface="Aptos Display" panose="020B0004020202020204" pitchFamily="34" charset="0"/>
              <a:cs typeface="+mn-cs"/>
            </a:endParaRPr>
          </a:p>
          <a:p>
            <a:pPr algn="just"/>
            <a:endParaRPr lang="es-MX" sz="1500" dirty="0">
              <a:solidFill>
                <a:schemeClr val="tx1"/>
              </a:solidFill>
              <a:latin typeface="Aptos Display" panose="020B0004020202020204" pitchFamily="34" charset="0"/>
              <a:cs typeface="+mn-cs"/>
            </a:endParaRPr>
          </a:p>
        </p:txBody>
      </p:sp>
      <p:sp>
        <p:nvSpPr>
          <p:cNvPr id="3" name="TextBox 2">
            <a:extLst>
              <a:ext uri="{FF2B5EF4-FFF2-40B4-BE49-F238E27FC236}">
                <a16:creationId xmlns:a16="http://schemas.microsoft.com/office/drawing/2014/main" id="{8323B1D1-4D98-0084-4952-437B5711350C}"/>
              </a:ext>
            </a:extLst>
          </p:cNvPr>
          <p:cNvSpPr txBox="1"/>
          <p:nvPr/>
        </p:nvSpPr>
        <p:spPr>
          <a:xfrm>
            <a:off x="1963271" y="6329083"/>
            <a:ext cx="7530352" cy="215444"/>
          </a:xfrm>
          <a:prstGeom prst="rect">
            <a:avLst/>
          </a:prstGeom>
          <a:noFill/>
        </p:spPr>
        <p:txBody>
          <a:bodyPr wrap="square" rtlCol="0">
            <a:spAutoFit/>
          </a:bodyPr>
          <a:lstStyle/>
          <a:p>
            <a:r>
              <a:rPr lang="es-MX" sz="800" i="1" dirty="0"/>
              <a:t>Fuente: ARDA </a:t>
            </a:r>
            <a:r>
              <a:rPr lang="es-MX" sz="800" i="1" dirty="0" err="1"/>
              <a:t>Owners</a:t>
            </a:r>
            <a:r>
              <a:rPr lang="es-MX" sz="800" i="1" dirty="0"/>
              <a:t> </a:t>
            </a:r>
            <a:r>
              <a:rPr lang="es-MX" sz="800" i="1" dirty="0" err="1"/>
              <a:t>Report</a:t>
            </a:r>
            <a:r>
              <a:rPr lang="es-MX" sz="800" i="1" dirty="0"/>
              <a:t> 2024  </a:t>
            </a:r>
          </a:p>
        </p:txBody>
      </p:sp>
      <p:sp>
        <p:nvSpPr>
          <p:cNvPr id="6" name="Marcador de texto 20">
            <a:extLst>
              <a:ext uri="{FF2B5EF4-FFF2-40B4-BE49-F238E27FC236}">
                <a16:creationId xmlns:a16="http://schemas.microsoft.com/office/drawing/2014/main" id="{B68113F1-F42A-76FE-4B75-D6C78E286A70}"/>
              </a:ext>
            </a:extLst>
          </p:cNvPr>
          <p:cNvSpPr>
            <a:spLocks noGrp="1"/>
          </p:cNvSpPr>
          <p:nvPr>
            <p:ph type="body" sz="quarter" idx="13"/>
          </p:nvPr>
        </p:nvSpPr>
        <p:spPr>
          <a:xfrm>
            <a:off x="1098550" y="1461721"/>
            <a:ext cx="5875338" cy="384175"/>
          </a:xfrm>
        </p:spPr>
        <p:txBody>
          <a:bodyPr/>
          <a:lstStyle/>
          <a:p>
            <a:r>
              <a:rPr lang="es-MX" dirty="0"/>
              <a:t>ARDA OWNERS REPORT 2024</a:t>
            </a:r>
          </a:p>
        </p:txBody>
      </p:sp>
    </p:spTree>
    <p:extLst>
      <p:ext uri="{BB962C8B-B14F-4D97-AF65-F5344CB8AC3E}">
        <p14:creationId xmlns:p14="http://schemas.microsoft.com/office/powerpoint/2010/main" val="21930092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31F6847-4E87-00FB-B09B-C188C9365D7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21164509">
            <a:off x="2197966" y="928678"/>
            <a:ext cx="3858324" cy="4999693"/>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D9ABDD03-62CD-B4B6-18CA-4AE6A09129E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418376">
            <a:off x="6393010" y="781245"/>
            <a:ext cx="4084305" cy="5141925"/>
          </a:xfrm>
          <a:prstGeom prst="rect">
            <a:avLst/>
          </a:prstGeom>
          <a:ln>
            <a:noFill/>
          </a:ln>
          <a:effectLst>
            <a:outerShdw blurRad="292100" dist="139700" dir="2700000" algn="tl" rotWithShape="0">
              <a:srgbClr val="333333">
                <a:alpha val="65000"/>
              </a:srgbClr>
            </a:outerShdw>
          </a:effectLst>
        </p:spPr>
      </p:pic>
      <p:sp>
        <p:nvSpPr>
          <p:cNvPr id="3" name="TextBox 2">
            <a:extLst>
              <a:ext uri="{FF2B5EF4-FFF2-40B4-BE49-F238E27FC236}">
                <a16:creationId xmlns:a16="http://schemas.microsoft.com/office/drawing/2014/main" id="{6B69F516-83F9-FFE6-854A-D4E3ACFD2A1B}"/>
              </a:ext>
            </a:extLst>
          </p:cNvPr>
          <p:cNvSpPr txBox="1"/>
          <p:nvPr/>
        </p:nvSpPr>
        <p:spPr>
          <a:xfrm>
            <a:off x="2781961" y="6305181"/>
            <a:ext cx="7223286" cy="461665"/>
          </a:xfrm>
          <a:prstGeom prst="rect">
            <a:avLst/>
          </a:prstGeom>
          <a:noFill/>
        </p:spPr>
        <p:txBody>
          <a:bodyPr wrap="square">
            <a:spAutoFit/>
          </a:bodyPr>
          <a:lstStyle/>
          <a:p>
            <a:r>
              <a:rPr lang="en-US" sz="1200" dirty="0">
                <a:hlinkClick r:id="rId5"/>
              </a:rPr>
              <a:t>https://www.arda.org/research-library/u-s-shared-vacation-ownership-owners-report-2024-edition/</a:t>
            </a:r>
            <a:endParaRPr lang="en-US" sz="1200" dirty="0"/>
          </a:p>
          <a:p>
            <a:endParaRPr lang="en-US" sz="1200" dirty="0"/>
          </a:p>
        </p:txBody>
      </p:sp>
    </p:spTree>
    <p:extLst>
      <p:ext uri="{BB962C8B-B14F-4D97-AF65-F5344CB8AC3E}">
        <p14:creationId xmlns:p14="http://schemas.microsoft.com/office/powerpoint/2010/main" val="19977982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D2739BA-2768-EC1C-138F-FAC3651BDF5B}"/>
              </a:ext>
            </a:extLst>
          </p:cNvPr>
          <p:cNvSpPr>
            <a:spLocks noGrp="1"/>
          </p:cNvSpPr>
          <p:nvPr>
            <p:ph type="title"/>
          </p:nvPr>
        </p:nvSpPr>
        <p:spPr>
          <a:xfrm>
            <a:off x="457200" y="1776246"/>
            <a:ext cx="6187650" cy="615553"/>
          </a:xfrm>
        </p:spPr>
        <p:txBody>
          <a:bodyPr/>
          <a:lstStyle/>
          <a:p>
            <a:br>
              <a:rPr lang="es-ES" sz="2000" dirty="0">
                <a:solidFill>
                  <a:schemeClr val="tx1"/>
                </a:solidFill>
              </a:rPr>
            </a:br>
            <a:endParaRPr lang="es-MX" sz="2000" dirty="0">
              <a:solidFill>
                <a:schemeClr val="tx1"/>
              </a:solidFill>
            </a:endParaRPr>
          </a:p>
        </p:txBody>
      </p:sp>
      <p:pic>
        <p:nvPicPr>
          <p:cNvPr id="6" name="Picture Placeholder 5">
            <a:extLst>
              <a:ext uri="{FF2B5EF4-FFF2-40B4-BE49-F238E27FC236}">
                <a16:creationId xmlns:a16="http://schemas.microsoft.com/office/drawing/2014/main" id="{AD999FD8-9F59-8B2C-65C0-5460DAFD9B5A}"/>
              </a:ext>
            </a:extLst>
          </p:cNvPr>
          <p:cNvPicPr>
            <a:picLocks noGrp="1" noChangeAspect="1"/>
          </p:cNvPicPr>
          <p:nvPr>
            <p:ph type="pic" sz="quarter" idx="10"/>
          </p:nvPr>
        </p:nvPicPr>
        <p:blipFill>
          <a:blip r:embed="rId2"/>
          <a:srcRect l="15671" r="15671"/>
          <a:stretch>
            <a:fillRect/>
          </a:stretch>
        </p:blipFill>
        <p:spPr>
          <a:xfrm>
            <a:off x="7495735" y="0"/>
            <a:ext cx="4708457" cy="6858000"/>
          </a:xfrm>
          <a:prstGeom prst="rect">
            <a:avLst/>
          </a:prstGeom>
        </p:spPr>
      </p:pic>
      <p:sp>
        <p:nvSpPr>
          <p:cNvPr id="4" name="Marcador de texto 3">
            <a:extLst>
              <a:ext uri="{FF2B5EF4-FFF2-40B4-BE49-F238E27FC236}">
                <a16:creationId xmlns:a16="http://schemas.microsoft.com/office/drawing/2014/main" id="{307A4536-1C79-FD49-6497-0DAFC2166F8E}"/>
              </a:ext>
            </a:extLst>
          </p:cNvPr>
          <p:cNvSpPr>
            <a:spLocks noGrp="1"/>
          </p:cNvSpPr>
          <p:nvPr>
            <p:ph type="body" idx="11"/>
          </p:nvPr>
        </p:nvSpPr>
        <p:spPr>
          <a:xfrm>
            <a:off x="425653" y="2146790"/>
            <a:ext cx="6644640" cy="4485074"/>
          </a:xfrm>
        </p:spPr>
        <p:txBody>
          <a:bodyPr/>
          <a:lstStyle/>
          <a:p>
            <a:pPr marL="342900" indent="-342900" algn="just">
              <a:lnSpc>
                <a:spcPct val="200000"/>
              </a:lnSpc>
              <a:buFont typeface="+mj-lt"/>
              <a:buAutoNum type="arabicPeriod"/>
            </a:pPr>
            <a:r>
              <a:rPr lang="es-ES" sz="1500" b="1" dirty="0">
                <a:latin typeface="Aptos Display" panose="020B0004020202020204" pitchFamily="34" charset="0"/>
              </a:rPr>
              <a:t>El Perfil del Comprador </a:t>
            </a:r>
            <a:r>
              <a:rPr lang="es-ES" sz="1500" dirty="0">
                <a:latin typeface="Aptos Display" panose="020B0004020202020204" pitchFamily="34" charset="0"/>
              </a:rPr>
              <a:t>en México</a:t>
            </a:r>
          </a:p>
          <a:p>
            <a:pPr marL="342900" indent="-342900" algn="just">
              <a:lnSpc>
                <a:spcPct val="200000"/>
              </a:lnSpc>
              <a:buFont typeface="+mj-lt"/>
              <a:buAutoNum type="arabicPeriod"/>
            </a:pPr>
            <a:r>
              <a:rPr lang="es-ES" sz="1500" b="1" dirty="0">
                <a:latin typeface="Aptos Display" panose="020B0004020202020204" pitchFamily="34" charset="0"/>
              </a:rPr>
              <a:t>Automatización y digitalización en la gestión de propiedades: </a:t>
            </a:r>
            <a:r>
              <a:rPr lang="es-ES" sz="1500" dirty="0">
                <a:latin typeface="Aptos Display" panose="020B0004020202020204" pitchFamily="34" charset="0"/>
              </a:rPr>
              <a:t>Experiencias personalizadas y diferenciadas.</a:t>
            </a:r>
          </a:p>
          <a:p>
            <a:pPr marL="342900" indent="-342900" algn="just">
              <a:lnSpc>
                <a:spcPct val="200000"/>
              </a:lnSpc>
              <a:buFont typeface="+mj-lt"/>
              <a:buAutoNum type="arabicPeriod"/>
            </a:pPr>
            <a:r>
              <a:rPr lang="es-MX" sz="1500" b="1" dirty="0">
                <a:latin typeface="Aptos Display" panose="020B0004020202020204" pitchFamily="34" charset="0"/>
              </a:rPr>
              <a:t>Retos y oportunidades</a:t>
            </a:r>
            <a:r>
              <a:rPr lang="es-MX" sz="1500" dirty="0">
                <a:latin typeface="Aptos Display" panose="020B0004020202020204" pitchFamily="34" charset="0"/>
              </a:rPr>
              <a:t>: </a:t>
            </a:r>
            <a:r>
              <a:rPr lang="es-ES" sz="1500" dirty="0">
                <a:latin typeface="Aptos Display" panose="020B0004020202020204" pitchFamily="34" charset="0"/>
              </a:rPr>
              <a:t>Nuevos modelos de negocios y destinos en México y en el Mundo.</a:t>
            </a:r>
          </a:p>
          <a:p>
            <a:pPr marL="342900" indent="-342900" algn="just">
              <a:lnSpc>
                <a:spcPct val="200000"/>
              </a:lnSpc>
              <a:buFont typeface="+mj-lt"/>
              <a:buAutoNum type="arabicPeriod"/>
            </a:pPr>
            <a:r>
              <a:rPr lang="es-ES" sz="1500" b="1" dirty="0">
                <a:latin typeface="Aptos Display" panose="020B0004020202020204" pitchFamily="34" charset="0"/>
              </a:rPr>
              <a:t>Evolución al futuro: </a:t>
            </a:r>
            <a:r>
              <a:rPr lang="es-ES" sz="1500" dirty="0">
                <a:latin typeface="Aptos Display" panose="020B0004020202020204" pitchFamily="34" charset="0"/>
              </a:rPr>
              <a:t>Adaptabilidad a las preferencias del cliente.</a:t>
            </a:r>
            <a:endParaRPr lang="es-MX" sz="1500" dirty="0">
              <a:latin typeface="Aptos Display" panose="020B0004020202020204" pitchFamily="34" charset="0"/>
            </a:endParaRPr>
          </a:p>
          <a:p>
            <a:pPr marL="342900" indent="-342900" algn="just">
              <a:lnSpc>
                <a:spcPct val="200000"/>
              </a:lnSpc>
              <a:buFont typeface="Arial" panose="020B0604020202020204" pitchFamily="34" charset="0"/>
              <a:buChar char="•"/>
            </a:pPr>
            <a:endParaRPr lang="es-MX" sz="1500" dirty="0">
              <a:latin typeface="+mn-lt"/>
            </a:endParaRPr>
          </a:p>
          <a:p>
            <a:pPr marL="342900" indent="-342900" algn="just">
              <a:lnSpc>
                <a:spcPct val="200000"/>
              </a:lnSpc>
              <a:buFont typeface="Arial" panose="020B0604020202020204" pitchFamily="34" charset="0"/>
              <a:buChar char="•"/>
            </a:pPr>
            <a:endParaRPr lang="es-MX" sz="1500" dirty="0">
              <a:latin typeface="+mn-lt"/>
            </a:endParaRPr>
          </a:p>
        </p:txBody>
      </p:sp>
      <p:sp>
        <p:nvSpPr>
          <p:cNvPr id="8" name="TextBox 7">
            <a:extLst>
              <a:ext uri="{FF2B5EF4-FFF2-40B4-BE49-F238E27FC236}">
                <a16:creationId xmlns:a16="http://schemas.microsoft.com/office/drawing/2014/main" id="{7BEEE7F9-84EB-2307-1060-119416A4B44B}"/>
              </a:ext>
            </a:extLst>
          </p:cNvPr>
          <p:cNvSpPr txBox="1"/>
          <p:nvPr/>
        </p:nvSpPr>
        <p:spPr>
          <a:xfrm>
            <a:off x="541230" y="226136"/>
            <a:ext cx="6773970" cy="677108"/>
          </a:xfrm>
          <a:prstGeom prst="rect">
            <a:avLst/>
          </a:prstGeom>
          <a:noFill/>
        </p:spPr>
        <p:txBody>
          <a:bodyPr wrap="square">
            <a:spAutoFit/>
          </a:bodyPr>
          <a:lstStyle/>
          <a:p>
            <a:pPr algn="l"/>
            <a:endParaRPr lang="en-US" sz="1800" b="0" i="0" u="none" strike="noStrike" baseline="0" dirty="0">
              <a:solidFill>
                <a:srgbClr val="000000"/>
              </a:solidFill>
            </a:endParaRPr>
          </a:p>
          <a:p>
            <a:r>
              <a:rPr lang="es-ES" sz="1800" b="0" i="0" u="none" strike="noStrike" baseline="0" dirty="0">
                <a:solidFill>
                  <a:srgbClr val="000000"/>
                </a:solidFill>
              </a:rPr>
              <a:t> </a:t>
            </a:r>
            <a:r>
              <a:rPr lang="es-ES" sz="2000" b="1" dirty="0">
                <a:solidFill>
                  <a:schemeClr val="tx1"/>
                </a:solidFill>
                <a:ea typeface="+mn-ea"/>
                <a:cs typeface="Poppins Light" panose="00000400000000000000" pitchFamily="2" charset="0"/>
              </a:rPr>
              <a:t>Tendencias y Futuro de la Propiedad Vacacional</a:t>
            </a:r>
            <a:endParaRPr lang="en-US" sz="2000" b="1" dirty="0">
              <a:solidFill>
                <a:schemeClr val="tx1"/>
              </a:solidFill>
              <a:ea typeface="+mn-ea"/>
              <a:cs typeface="Poppins Light" panose="00000400000000000000" pitchFamily="2" charset="0"/>
            </a:endParaRPr>
          </a:p>
        </p:txBody>
      </p:sp>
    </p:spTree>
    <p:extLst>
      <p:ext uri="{BB962C8B-B14F-4D97-AF65-F5344CB8AC3E}">
        <p14:creationId xmlns:p14="http://schemas.microsoft.com/office/powerpoint/2010/main" val="3197789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FC985C-2E5C-0194-2C29-150ECB28F312}"/>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B0F61325-EA41-D3A5-0053-D93A6E3EB979}"/>
              </a:ext>
            </a:extLst>
          </p:cNvPr>
          <p:cNvSpPr txBox="1"/>
          <p:nvPr/>
        </p:nvSpPr>
        <p:spPr>
          <a:xfrm>
            <a:off x="481101" y="2053463"/>
            <a:ext cx="11288404" cy="369332"/>
          </a:xfrm>
          <a:prstGeom prst="rect">
            <a:avLst/>
          </a:prstGeom>
          <a:noFill/>
        </p:spPr>
        <p:txBody>
          <a:bodyPr wrap="square">
            <a:spAutoFit/>
          </a:bodyPr>
          <a:lstStyle/>
          <a:p>
            <a:pPr algn="l">
              <a:buFont typeface="+mj-lt"/>
              <a:buAutoNum type="arabicPeriod"/>
            </a:pPr>
            <a:endParaRPr lang="es-MX" b="0" i="0" dirty="0">
              <a:solidFill>
                <a:srgbClr val="111111"/>
              </a:solidFill>
              <a:effectLst/>
              <a:highlight>
                <a:srgbClr val="F7F7F7"/>
              </a:highlight>
              <a:latin typeface="-apple-system"/>
            </a:endParaRPr>
          </a:p>
        </p:txBody>
      </p:sp>
      <p:sp>
        <p:nvSpPr>
          <p:cNvPr id="7" name="Marcador de texto 1">
            <a:extLst>
              <a:ext uri="{FF2B5EF4-FFF2-40B4-BE49-F238E27FC236}">
                <a16:creationId xmlns:a16="http://schemas.microsoft.com/office/drawing/2014/main" id="{4B29FD69-187D-B35F-A01D-E35B754CB1C4}"/>
              </a:ext>
            </a:extLst>
          </p:cNvPr>
          <p:cNvSpPr txBox="1">
            <a:spLocks/>
          </p:cNvSpPr>
          <p:nvPr/>
        </p:nvSpPr>
        <p:spPr>
          <a:xfrm>
            <a:off x="1239393" y="2574084"/>
            <a:ext cx="9056751" cy="774067"/>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400" b="1" kern="1200">
                <a:solidFill>
                  <a:srgbClr val="014B7F"/>
                </a:solidFill>
                <a:latin typeface="Poppins" panose="00000500000000000000" pitchFamily="2" charset="0"/>
                <a:ea typeface="+mn-ea"/>
                <a:cs typeface="Poppins" panose="000005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s-ES" sz="2400" dirty="0"/>
              <a:t>El impacto en la automatización y digitalización en la gestión de propiedades.</a:t>
            </a:r>
            <a:endParaRPr lang="es-MX" sz="2400" dirty="0"/>
          </a:p>
        </p:txBody>
      </p:sp>
    </p:spTree>
    <p:extLst>
      <p:ext uri="{BB962C8B-B14F-4D97-AF65-F5344CB8AC3E}">
        <p14:creationId xmlns:p14="http://schemas.microsoft.com/office/powerpoint/2010/main" val="22733946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AE24E3-082E-3B33-4190-F7F28AD0ABC0}"/>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B51CAAD6-278D-4F6A-1B74-D5AF52D039CB}"/>
              </a:ext>
            </a:extLst>
          </p:cNvPr>
          <p:cNvSpPr txBox="1"/>
          <p:nvPr/>
        </p:nvSpPr>
        <p:spPr>
          <a:xfrm>
            <a:off x="481101" y="2053463"/>
            <a:ext cx="11288404" cy="369332"/>
          </a:xfrm>
          <a:prstGeom prst="rect">
            <a:avLst/>
          </a:prstGeom>
          <a:noFill/>
        </p:spPr>
        <p:txBody>
          <a:bodyPr wrap="square">
            <a:spAutoFit/>
          </a:bodyPr>
          <a:lstStyle/>
          <a:p>
            <a:pPr algn="l">
              <a:buFont typeface="+mj-lt"/>
              <a:buAutoNum type="arabicPeriod"/>
            </a:pPr>
            <a:endParaRPr lang="es-MX" b="0" i="0" dirty="0">
              <a:solidFill>
                <a:srgbClr val="111111"/>
              </a:solidFill>
              <a:effectLst/>
              <a:highlight>
                <a:srgbClr val="F7F7F7"/>
              </a:highlight>
              <a:latin typeface="-apple-system"/>
            </a:endParaRPr>
          </a:p>
        </p:txBody>
      </p:sp>
      <p:sp>
        <p:nvSpPr>
          <p:cNvPr id="7" name="Marcador de texto 1">
            <a:extLst>
              <a:ext uri="{FF2B5EF4-FFF2-40B4-BE49-F238E27FC236}">
                <a16:creationId xmlns:a16="http://schemas.microsoft.com/office/drawing/2014/main" id="{1D7752F5-5BD9-8B73-D8E6-141C0E1942D7}"/>
              </a:ext>
            </a:extLst>
          </p:cNvPr>
          <p:cNvSpPr txBox="1">
            <a:spLocks/>
          </p:cNvSpPr>
          <p:nvPr/>
        </p:nvSpPr>
        <p:spPr>
          <a:xfrm>
            <a:off x="71526" y="469517"/>
            <a:ext cx="5701953" cy="99332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400" b="1" kern="1200">
                <a:solidFill>
                  <a:srgbClr val="014B7F"/>
                </a:solidFill>
                <a:latin typeface="Poppins" panose="00000500000000000000" pitchFamily="2" charset="0"/>
                <a:ea typeface="+mn-ea"/>
                <a:cs typeface="Poppins" panose="000005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MX" sz="2400" dirty="0"/>
              <a:t>Automatización y digitalización</a:t>
            </a:r>
          </a:p>
        </p:txBody>
      </p:sp>
      <p:sp>
        <p:nvSpPr>
          <p:cNvPr id="2" name="TextBox 1">
            <a:extLst>
              <a:ext uri="{FF2B5EF4-FFF2-40B4-BE49-F238E27FC236}">
                <a16:creationId xmlns:a16="http://schemas.microsoft.com/office/drawing/2014/main" id="{E0277AE2-F61F-F1D9-CFFE-2B39A6833639}"/>
              </a:ext>
            </a:extLst>
          </p:cNvPr>
          <p:cNvSpPr txBox="1"/>
          <p:nvPr/>
        </p:nvSpPr>
        <p:spPr>
          <a:xfrm>
            <a:off x="668880" y="2099957"/>
            <a:ext cx="6006743" cy="3539430"/>
          </a:xfrm>
          <a:prstGeom prst="rect">
            <a:avLst/>
          </a:prstGeom>
          <a:noFill/>
        </p:spPr>
        <p:txBody>
          <a:bodyPr wrap="square">
            <a:spAutoFit/>
          </a:bodyPr>
          <a:lstStyle/>
          <a:p>
            <a:pPr algn="just"/>
            <a:r>
              <a:rPr lang="es-ES" sz="1400" b="1" dirty="0">
                <a:latin typeface="Aptos Display" panose="020B0004020202020204" pitchFamily="34" charset="0"/>
              </a:rPr>
              <a:t>Plataformas digitales: </a:t>
            </a:r>
            <a:r>
              <a:rPr lang="es-ES" sz="1400" dirty="0">
                <a:latin typeface="Aptos Display" panose="020B0004020202020204" pitchFamily="34" charset="0"/>
              </a:rPr>
              <a:t>La compra y gestión del tiempo compartido se ha simplificado a través de aplicaciones y sitios web. Esto ha atraído a los compradores más jóvenes, que prefieren realizar transacciones digitales.</a:t>
            </a:r>
          </a:p>
          <a:p>
            <a:pPr algn="just"/>
            <a:endParaRPr lang="es-ES" sz="1400" b="1" dirty="0">
              <a:latin typeface="Aptos Display" panose="020B0004020202020204" pitchFamily="34" charset="0"/>
            </a:endParaRPr>
          </a:p>
          <a:p>
            <a:pPr algn="just"/>
            <a:r>
              <a:rPr lang="es-MX" sz="1400" b="1" dirty="0">
                <a:latin typeface="Aptos Display" panose="020B0004020202020204" pitchFamily="34" charset="0"/>
              </a:rPr>
              <a:t>Creación de experiencias inmersivas: </a:t>
            </a:r>
            <a:r>
              <a:rPr lang="es-ES" sz="1400" dirty="0">
                <a:latin typeface="Aptos Display" panose="020B0004020202020204" pitchFamily="34" charset="0"/>
              </a:rPr>
              <a:t>Realidad virtual y aumentada permiten que los compradores experimenten destinos de manera virtual antes de tomar decisiones.</a:t>
            </a:r>
          </a:p>
          <a:p>
            <a:pPr algn="just"/>
            <a:endParaRPr lang="es-ES" sz="1400" dirty="0">
              <a:latin typeface="Aptos Display" panose="020B0004020202020204" pitchFamily="34" charset="0"/>
            </a:endParaRPr>
          </a:p>
          <a:p>
            <a:pPr algn="just"/>
            <a:r>
              <a:rPr lang="es-ES" sz="1400" b="1" dirty="0">
                <a:latin typeface="Aptos Display" panose="020B0004020202020204" pitchFamily="34" charset="0"/>
              </a:rPr>
              <a:t>Inteligencia artificial: </a:t>
            </a:r>
            <a:r>
              <a:rPr lang="es-ES" sz="1400" dirty="0">
                <a:latin typeface="Aptos Display" panose="020B0004020202020204" pitchFamily="34" charset="0"/>
              </a:rPr>
              <a:t>Las recomendaciones personalizadas a través de IA están ayudando a las empresas de tiempo compartido a entender mejor los intereses de los compradores y ofrecerles productos que se ajusten a sus necesidades.</a:t>
            </a:r>
          </a:p>
          <a:p>
            <a:pPr algn="just"/>
            <a:endParaRPr lang="es-ES" sz="1400" dirty="0">
              <a:latin typeface="Aptos Display" panose="020B0004020202020204" pitchFamily="34" charset="0"/>
            </a:endParaRPr>
          </a:p>
          <a:p>
            <a:pPr algn="just"/>
            <a:r>
              <a:rPr lang="es-MX" sz="1400" b="1" dirty="0">
                <a:latin typeface="Aptos Display" panose="020B0004020202020204" pitchFamily="34" charset="0"/>
              </a:rPr>
              <a:t>Servicios sin contacto:</a:t>
            </a:r>
            <a:r>
              <a:rPr lang="es-MX" sz="1400" dirty="0">
                <a:latin typeface="Aptos Display" panose="020B0004020202020204" pitchFamily="34" charset="0"/>
              </a:rPr>
              <a:t> Las soluciones como el reconocimiento facial para acceder a las habitaciones y realizar pagos ofrecen una experiencia más segura y fluida, reduciendo la fricción en puntos clave de la interacción con el cliente.</a:t>
            </a:r>
            <a:endParaRPr lang="en-US" sz="1400" dirty="0">
              <a:latin typeface="Aptos Display" panose="020B0004020202020204" pitchFamily="34" charset="0"/>
            </a:endParaRPr>
          </a:p>
          <a:p>
            <a:pPr algn="just"/>
            <a:endParaRPr lang="es-ES" sz="1400" dirty="0">
              <a:latin typeface="Aptos Display" panose="020B0004020202020204" pitchFamily="34" charset="0"/>
            </a:endParaRPr>
          </a:p>
        </p:txBody>
      </p:sp>
      <p:pic>
        <p:nvPicPr>
          <p:cNvPr id="3" name="Picture 2">
            <a:extLst>
              <a:ext uri="{FF2B5EF4-FFF2-40B4-BE49-F238E27FC236}">
                <a16:creationId xmlns:a16="http://schemas.microsoft.com/office/drawing/2014/main" id="{E9BA6CB1-59CD-674C-9BF7-8AFF31A08F08}"/>
              </a:ext>
            </a:extLst>
          </p:cNvPr>
          <p:cNvPicPr>
            <a:picLocks noChangeAspect="1"/>
          </p:cNvPicPr>
          <p:nvPr/>
        </p:nvPicPr>
        <p:blipFill>
          <a:blip r:embed="rId2"/>
          <a:stretch>
            <a:fillRect/>
          </a:stretch>
        </p:blipFill>
        <p:spPr>
          <a:xfrm>
            <a:off x="7040722" y="2099957"/>
            <a:ext cx="4825593" cy="242951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6" name="TextBox 5">
            <a:extLst>
              <a:ext uri="{FF2B5EF4-FFF2-40B4-BE49-F238E27FC236}">
                <a16:creationId xmlns:a16="http://schemas.microsoft.com/office/drawing/2014/main" id="{6367AAC6-5707-D9A2-F8C7-E9BFF4758A43}"/>
              </a:ext>
            </a:extLst>
          </p:cNvPr>
          <p:cNvSpPr txBox="1"/>
          <p:nvPr/>
        </p:nvSpPr>
        <p:spPr>
          <a:xfrm>
            <a:off x="598058" y="1615045"/>
            <a:ext cx="6148386" cy="307777"/>
          </a:xfrm>
          <a:prstGeom prst="rect">
            <a:avLst/>
          </a:prstGeom>
          <a:noFill/>
        </p:spPr>
        <p:txBody>
          <a:bodyPr wrap="square">
            <a:spAutoFit/>
          </a:bodyPr>
          <a:lstStyle/>
          <a:p>
            <a:r>
              <a:rPr lang="es-ES" sz="1400" dirty="0">
                <a:latin typeface="Aptos Display" panose="020B0004020202020204" pitchFamily="34" charset="0"/>
              </a:rPr>
              <a:t>Diferenciación a través de la tecnología:</a:t>
            </a:r>
            <a:endParaRPr lang="en-US" sz="1400" dirty="0">
              <a:latin typeface="Aptos Display" panose="020B0004020202020204" pitchFamily="34" charset="0"/>
            </a:endParaRPr>
          </a:p>
        </p:txBody>
      </p:sp>
    </p:spTree>
    <p:extLst>
      <p:ext uri="{BB962C8B-B14F-4D97-AF65-F5344CB8AC3E}">
        <p14:creationId xmlns:p14="http://schemas.microsoft.com/office/powerpoint/2010/main" val="14716679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02A674-6866-CDBB-7D32-34B5D7E6A27D}"/>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5555722E-A9D6-45C6-C230-ED86979485A6}"/>
              </a:ext>
            </a:extLst>
          </p:cNvPr>
          <p:cNvPicPr>
            <a:picLocks noChangeAspect="1"/>
          </p:cNvPicPr>
          <p:nvPr/>
        </p:nvPicPr>
        <p:blipFill>
          <a:blip r:embed="rId2">
            <a:alphaModFix amt="20000"/>
          </a:blip>
          <a:stretch>
            <a:fillRect/>
          </a:stretch>
        </p:blipFill>
        <p:spPr>
          <a:xfrm>
            <a:off x="2792008" y="1325476"/>
            <a:ext cx="7032894" cy="4438232"/>
          </a:xfrm>
          <a:prstGeom prst="rect">
            <a:avLst/>
          </a:prstGeom>
        </p:spPr>
      </p:pic>
      <p:sp>
        <p:nvSpPr>
          <p:cNvPr id="4" name="TextBox 3">
            <a:extLst>
              <a:ext uri="{FF2B5EF4-FFF2-40B4-BE49-F238E27FC236}">
                <a16:creationId xmlns:a16="http://schemas.microsoft.com/office/drawing/2014/main" id="{6FD5E875-4B5B-F3A5-3BF5-2B333BDEAEE6}"/>
              </a:ext>
            </a:extLst>
          </p:cNvPr>
          <p:cNvSpPr txBox="1"/>
          <p:nvPr/>
        </p:nvSpPr>
        <p:spPr>
          <a:xfrm>
            <a:off x="481101" y="2053463"/>
            <a:ext cx="11288404" cy="369332"/>
          </a:xfrm>
          <a:prstGeom prst="rect">
            <a:avLst/>
          </a:prstGeom>
          <a:noFill/>
        </p:spPr>
        <p:txBody>
          <a:bodyPr wrap="square">
            <a:spAutoFit/>
          </a:bodyPr>
          <a:lstStyle/>
          <a:p>
            <a:pPr algn="l">
              <a:buFont typeface="+mj-lt"/>
              <a:buAutoNum type="arabicPeriod"/>
            </a:pPr>
            <a:endParaRPr lang="es-MX" b="0" i="0" dirty="0">
              <a:solidFill>
                <a:srgbClr val="111111"/>
              </a:solidFill>
              <a:effectLst/>
              <a:highlight>
                <a:srgbClr val="F7F7F7"/>
              </a:highlight>
              <a:latin typeface="-apple-system"/>
            </a:endParaRPr>
          </a:p>
        </p:txBody>
      </p:sp>
      <p:sp>
        <p:nvSpPr>
          <p:cNvPr id="2" name="Marcador de texto 1">
            <a:extLst>
              <a:ext uri="{FF2B5EF4-FFF2-40B4-BE49-F238E27FC236}">
                <a16:creationId xmlns:a16="http://schemas.microsoft.com/office/drawing/2014/main" id="{61904AC2-646A-31A4-342D-DAD4AA695016}"/>
              </a:ext>
            </a:extLst>
          </p:cNvPr>
          <p:cNvSpPr txBox="1">
            <a:spLocks/>
          </p:cNvSpPr>
          <p:nvPr/>
        </p:nvSpPr>
        <p:spPr>
          <a:xfrm>
            <a:off x="71526" y="469517"/>
            <a:ext cx="5701953" cy="99332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400" b="1" kern="1200">
                <a:solidFill>
                  <a:srgbClr val="014B7F"/>
                </a:solidFill>
                <a:latin typeface="Poppins" panose="00000500000000000000" pitchFamily="2" charset="0"/>
                <a:ea typeface="+mn-ea"/>
                <a:cs typeface="Poppins" panose="000005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MX" sz="2400" dirty="0"/>
              <a:t>Automatización y digitalización</a:t>
            </a:r>
          </a:p>
        </p:txBody>
      </p:sp>
      <p:sp>
        <p:nvSpPr>
          <p:cNvPr id="5" name="TextBox 4">
            <a:extLst>
              <a:ext uri="{FF2B5EF4-FFF2-40B4-BE49-F238E27FC236}">
                <a16:creationId xmlns:a16="http://schemas.microsoft.com/office/drawing/2014/main" id="{73058A08-E577-0244-795E-781F3046CDC3}"/>
              </a:ext>
            </a:extLst>
          </p:cNvPr>
          <p:cNvSpPr txBox="1"/>
          <p:nvPr/>
        </p:nvSpPr>
        <p:spPr>
          <a:xfrm>
            <a:off x="1065224" y="2168417"/>
            <a:ext cx="4495800" cy="2527102"/>
          </a:xfrm>
          <a:prstGeom prst="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a:lnSpc>
                <a:spcPct val="115000"/>
              </a:lnSpc>
              <a:spcAft>
                <a:spcPts val="800"/>
              </a:spcAft>
            </a:pPr>
            <a:r>
              <a:rPr lang="es-MX" sz="1600" b="1" kern="100" dirty="0">
                <a:solidFill>
                  <a:schemeClr val="tx1"/>
                </a:solidFill>
                <a:latin typeface="Aptos Display" panose="020B0004020202020204" pitchFamily="34" charset="0"/>
                <a:ea typeface="Aptos" panose="020B0004020202020204" pitchFamily="34" charset="0"/>
                <a:cs typeface="Times New Roman" panose="02020603050405020304" pitchFamily="18" charset="0"/>
              </a:rPr>
              <a:t>Impacto de la automatización en la eficiencia</a:t>
            </a:r>
          </a:p>
          <a:p>
            <a:pPr>
              <a:lnSpc>
                <a:spcPct val="115000"/>
              </a:lnSpc>
              <a:spcAft>
                <a:spcPts val="800"/>
              </a:spcAft>
            </a:pPr>
            <a:endParaRPr lang="en-US" sz="1600" b="1" kern="100" dirty="0">
              <a:solidFill>
                <a:schemeClr val="tx1"/>
              </a:solidFill>
              <a:latin typeface="Aptos Display" panose="020B0004020202020204" pitchFamily="34" charset="0"/>
              <a:ea typeface="Aptos" panose="020B0004020202020204" pitchFamily="34" charset="0"/>
              <a:cs typeface="Times New Roman" panose="02020603050405020304" pitchFamily="18" charset="0"/>
            </a:endParaRPr>
          </a:p>
          <a:p>
            <a:pPr marL="342900" marR="0" lvl="0" indent="-342900">
              <a:lnSpc>
                <a:spcPct val="115000"/>
              </a:lnSpc>
              <a:spcAft>
                <a:spcPts val="800"/>
              </a:spcAft>
              <a:buSzPts val="1000"/>
              <a:buFont typeface="Symbol" panose="05050102010706020507" pitchFamily="18" charset="2"/>
              <a:buChar char=""/>
              <a:tabLst>
                <a:tab pos="457200" algn="l"/>
              </a:tabLst>
            </a:pPr>
            <a:r>
              <a:rPr lang="es-MX" sz="1600" kern="100" dirty="0">
                <a:solidFill>
                  <a:schemeClr val="tx1"/>
                </a:solidFill>
                <a:latin typeface="Aptos Display" panose="020B0004020202020204" pitchFamily="34" charset="0"/>
                <a:ea typeface="Aptos" panose="020B0004020202020204" pitchFamily="34" charset="0"/>
                <a:cs typeface="Times New Roman" panose="02020603050405020304" pitchFamily="18" charset="0"/>
              </a:rPr>
              <a:t>Gestión de reservas y </a:t>
            </a:r>
            <a:r>
              <a:rPr lang="es-MX" sz="1600" kern="100" dirty="0" err="1">
                <a:solidFill>
                  <a:schemeClr val="tx1"/>
                </a:solidFill>
                <a:latin typeface="Aptos Display" panose="020B0004020202020204" pitchFamily="34" charset="0"/>
                <a:ea typeface="Aptos" panose="020B0004020202020204" pitchFamily="34" charset="0"/>
                <a:cs typeface="Times New Roman" panose="02020603050405020304" pitchFamily="18" charset="0"/>
              </a:rPr>
              <a:t>check</a:t>
            </a:r>
            <a:r>
              <a:rPr lang="es-MX" sz="1600" kern="100" dirty="0">
                <a:solidFill>
                  <a:schemeClr val="tx1"/>
                </a:solidFill>
                <a:latin typeface="Aptos Display" panose="020B0004020202020204" pitchFamily="34" charset="0"/>
                <a:ea typeface="Aptos" panose="020B0004020202020204" pitchFamily="34" charset="0"/>
                <a:cs typeface="Times New Roman" panose="02020603050405020304" pitchFamily="18" charset="0"/>
              </a:rPr>
              <a:t>-in/</a:t>
            </a:r>
            <a:r>
              <a:rPr lang="es-MX" sz="1600" kern="100" dirty="0" err="1">
                <a:solidFill>
                  <a:schemeClr val="tx1"/>
                </a:solidFill>
                <a:latin typeface="Aptos Display" panose="020B0004020202020204" pitchFamily="34" charset="0"/>
                <a:ea typeface="Aptos" panose="020B0004020202020204" pitchFamily="34" charset="0"/>
                <a:cs typeface="Times New Roman" panose="02020603050405020304" pitchFamily="18" charset="0"/>
              </a:rPr>
              <a:t>check-out</a:t>
            </a:r>
            <a:r>
              <a:rPr lang="es-MX" sz="1600" kern="100" dirty="0">
                <a:solidFill>
                  <a:schemeClr val="tx1"/>
                </a:solidFill>
                <a:latin typeface="Aptos Display" panose="020B0004020202020204" pitchFamily="34" charset="0"/>
                <a:ea typeface="Aptos" panose="020B0004020202020204" pitchFamily="34" charset="0"/>
                <a:cs typeface="Times New Roman" panose="02020603050405020304" pitchFamily="18" charset="0"/>
              </a:rPr>
              <a:t> sin contacto</a:t>
            </a:r>
          </a:p>
          <a:p>
            <a:pPr marL="342900" marR="0" lvl="0" indent="-342900">
              <a:lnSpc>
                <a:spcPct val="115000"/>
              </a:lnSpc>
              <a:spcAft>
                <a:spcPts val="800"/>
              </a:spcAft>
              <a:buSzPts val="1000"/>
              <a:buFont typeface="Symbol" panose="05050102010706020507" pitchFamily="18" charset="2"/>
              <a:buChar char=""/>
              <a:tabLst>
                <a:tab pos="457200" algn="l"/>
              </a:tabLst>
            </a:pPr>
            <a:r>
              <a:rPr lang="es-MX" sz="1600" kern="100" dirty="0">
                <a:solidFill>
                  <a:schemeClr val="tx1"/>
                </a:solidFill>
                <a:latin typeface="Aptos Display" panose="020B0004020202020204" pitchFamily="34" charset="0"/>
                <a:ea typeface="Aptos" panose="020B0004020202020204" pitchFamily="34" charset="0"/>
                <a:cs typeface="Times New Roman" panose="02020603050405020304" pitchFamily="18" charset="0"/>
              </a:rPr>
              <a:t>Operaciones y </a:t>
            </a:r>
            <a:r>
              <a:rPr lang="es-MX" sz="1600" i="1" kern="100" dirty="0">
                <a:solidFill>
                  <a:schemeClr val="tx1"/>
                </a:solidFill>
                <a:latin typeface="Aptos Display" panose="020B0004020202020204" pitchFamily="34" charset="0"/>
                <a:ea typeface="Aptos" panose="020B0004020202020204" pitchFamily="34" charset="0"/>
                <a:cs typeface="Times New Roman" panose="02020603050405020304" pitchFamily="18" charset="0"/>
              </a:rPr>
              <a:t>back-office</a:t>
            </a:r>
          </a:p>
          <a:p>
            <a:pPr marL="342900" marR="0" lvl="0" indent="-342900">
              <a:lnSpc>
                <a:spcPct val="115000"/>
              </a:lnSpc>
              <a:spcAft>
                <a:spcPts val="800"/>
              </a:spcAft>
              <a:buSzPts val="1000"/>
              <a:buFont typeface="Symbol" panose="05050102010706020507" pitchFamily="18" charset="2"/>
              <a:buChar char=""/>
              <a:tabLst>
                <a:tab pos="457200" algn="l"/>
              </a:tabLst>
            </a:pPr>
            <a:r>
              <a:rPr lang="es-MX" sz="1600" kern="100" dirty="0">
                <a:solidFill>
                  <a:schemeClr val="tx1"/>
                </a:solidFill>
                <a:latin typeface="Aptos Display" panose="020B0004020202020204" pitchFamily="34" charset="0"/>
                <a:ea typeface="Aptos" panose="020B0004020202020204" pitchFamily="34" charset="0"/>
                <a:cs typeface="Times New Roman" panose="02020603050405020304" pitchFamily="18" charset="0"/>
              </a:rPr>
              <a:t>Gestión de ingresos (</a:t>
            </a:r>
            <a:r>
              <a:rPr lang="es-MX" sz="1600" i="1" kern="100" dirty="0">
                <a:solidFill>
                  <a:schemeClr val="tx1"/>
                </a:solidFill>
                <a:latin typeface="Aptos Display" panose="020B0004020202020204" pitchFamily="34" charset="0"/>
                <a:ea typeface="Aptos" panose="020B0004020202020204" pitchFamily="34" charset="0"/>
                <a:cs typeface="Times New Roman" panose="02020603050405020304" pitchFamily="18" charset="0"/>
              </a:rPr>
              <a:t>Revenue Management</a:t>
            </a:r>
            <a:r>
              <a:rPr lang="es-MX" sz="1600" kern="100" dirty="0">
                <a:solidFill>
                  <a:schemeClr val="tx1"/>
                </a:solidFill>
                <a:latin typeface="Aptos Display" panose="020B0004020202020204" pitchFamily="34" charset="0"/>
                <a:ea typeface="Aptos" panose="020B0004020202020204" pitchFamily="34" charset="0"/>
                <a:cs typeface="Times New Roman" panose="02020603050405020304" pitchFamily="18" charset="0"/>
              </a:rPr>
              <a:t>)</a:t>
            </a:r>
            <a:endParaRPr lang="en-US" sz="1600" kern="100" dirty="0">
              <a:solidFill>
                <a:schemeClr val="tx1"/>
              </a:solidFill>
              <a:latin typeface="Aptos Display" panose="020B0004020202020204" pitchFamily="34" charset="0"/>
              <a:ea typeface="Aptos" panose="020B0004020202020204" pitchFamily="34" charset="0"/>
              <a:cs typeface="Times New Roman" panose="02020603050405020304" pitchFamily="18" charset="0"/>
            </a:endParaRPr>
          </a:p>
          <a:p>
            <a:pPr marR="0" lvl="0" algn="just">
              <a:lnSpc>
                <a:spcPts val="1800"/>
              </a:lnSpc>
              <a:spcAft>
                <a:spcPts val="1200"/>
              </a:spcAft>
              <a:buSzPts val="1000"/>
              <a:tabLst>
                <a:tab pos="457200" algn="l"/>
              </a:tabLst>
            </a:pPr>
            <a:endParaRPr lang="es-MX" sz="1400" b="1" kern="100" dirty="0">
              <a:solidFill>
                <a:schemeClr val="tx1"/>
              </a:solidFill>
              <a:latin typeface="Aptos Display" panose="020B0004020202020204" pitchFamily="34" charset="0"/>
              <a:ea typeface="Aptos" panose="020B0004020202020204" pitchFamily="34" charset="0"/>
              <a:cs typeface="Times New Roman" panose="02020603050405020304" pitchFamily="18" charset="0"/>
            </a:endParaRPr>
          </a:p>
        </p:txBody>
      </p:sp>
      <p:sp>
        <p:nvSpPr>
          <p:cNvPr id="3" name="TextBox 2">
            <a:extLst>
              <a:ext uri="{FF2B5EF4-FFF2-40B4-BE49-F238E27FC236}">
                <a16:creationId xmlns:a16="http://schemas.microsoft.com/office/drawing/2014/main" id="{3706945A-8879-A67A-AA65-957B819B3FF4}"/>
              </a:ext>
            </a:extLst>
          </p:cNvPr>
          <p:cNvSpPr txBox="1"/>
          <p:nvPr/>
        </p:nvSpPr>
        <p:spPr>
          <a:xfrm>
            <a:off x="6630975" y="2139051"/>
            <a:ext cx="4857035" cy="2573461"/>
          </a:xfrm>
          <a:prstGeom prst="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a:lnSpc>
                <a:spcPct val="115000"/>
              </a:lnSpc>
              <a:spcAft>
                <a:spcPts val="800"/>
              </a:spcAft>
            </a:pPr>
            <a:r>
              <a:rPr lang="es-MX" sz="1600" b="1" kern="100" dirty="0">
                <a:solidFill>
                  <a:schemeClr val="tx1"/>
                </a:solidFill>
                <a:latin typeface="Aptos Display" panose="020B0004020202020204" pitchFamily="34" charset="0"/>
                <a:ea typeface="Aptos" panose="020B0004020202020204" pitchFamily="34" charset="0"/>
                <a:cs typeface="Times New Roman" panose="02020603050405020304" pitchFamily="18" charset="0"/>
              </a:rPr>
              <a:t>Impacto de la digitalización en la personalización</a:t>
            </a:r>
          </a:p>
          <a:p>
            <a:pPr>
              <a:lnSpc>
                <a:spcPct val="115000"/>
              </a:lnSpc>
              <a:spcAft>
                <a:spcPts val="800"/>
              </a:spcAft>
            </a:pPr>
            <a:endParaRPr lang="es-MX" sz="1600" b="1" kern="100" dirty="0">
              <a:solidFill>
                <a:schemeClr val="tx1"/>
              </a:solidFill>
              <a:latin typeface="Aptos Display" panose="020B0004020202020204" pitchFamily="34" charset="0"/>
              <a:ea typeface="Aptos" panose="020B0004020202020204" pitchFamily="34" charset="0"/>
              <a:cs typeface="Times New Roman" panose="02020603050405020304" pitchFamily="18" charset="0"/>
            </a:endParaRPr>
          </a:p>
          <a:p>
            <a:pPr marL="285750" indent="-285750">
              <a:lnSpc>
                <a:spcPct val="115000"/>
              </a:lnSpc>
              <a:spcAft>
                <a:spcPts val="800"/>
              </a:spcAft>
              <a:buFont typeface="Arial" panose="020B0604020202020204" pitchFamily="34" charset="0"/>
              <a:buChar char="•"/>
            </a:pPr>
            <a:r>
              <a:rPr lang="es-MX" sz="1600" kern="100" dirty="0">
                <a:solidFill>
                  <a:schemeClr val="tx1"/>
                </a:solidFill>
                <a:latin typeface="Aptos Display" panose="020B0004020202020204" pitchFamily="34" charset="0"/>
                <a:ea typeface="Aptos" panose="020B0004020202020204" pitchFamily="34" charset="0"/>
                <a:cs typeface="Times New Roman" panose="02020603050405020304" pitchFamily="18" charset="0"/>
              </a:rPr>
              <a:t>Análisis de datos del huésped</a:t>
            </a:r>
          </a:p>
          <a:p>
            <a:pPr marL="285750" marR="0" indent="-285750">
              <a:lnSpc>
                <a:spcPct val="115000"/>
              </a:lnSpc>
              <a:spcAft>
                <a:spcPts val="800"/>
              </a:spcAft>
              <a:buFont typeface="Arial" panose="020B0604020202020204" pitchFamily="34" charset="0"/>
              <a:buChar char="•"/>
            </a:pPr>
            <a:r>
              <a:rPr lang="es-MX" sz="1600" kern="100" dirty="0">
                <a:solidFill>
                  <a:schemeClr val="tx1"/>
                </a:solidFill>
                <a:latin typeface="Aptos Display" panose="020B0004020202020204" pitchFamily="34" charset="0"/>
                <a:ea typeface="Aptos" panose="020B0004020202020204" pitchFamily="34" charset="0"/>
                <a:cs typeface="Times New Roman" panose="02020603050405020304" pitchFamily="18" charset="0"/>
              </a:rPr>
              <a:t>Comunicaciones personalizadas</a:t>
            </a:r>
          </a:p>
          <a:p>
            <a:pPr marL="342900" marR="0" lvl="0" indent="-342900">
              <a:lnSpc>
                <a:spcPct val="115000"/>
              </a:lnSpc>
              <a:spcAft>
                <a:spcPts val="800"/>
              </a:spcAft>
              <a:buSzPts val="1000"/>
              <a:buFont typeface="Symbol" panose="05050102010706020507" pitchFamily="18" charset="2"/>
              <a:buChar char=""/>
              <a:tabLst>
                <a:tab pos="457200" algn="l"/>
              </a:tabLst>
            </a:pPr>
            <a:r>
              <a:rPr lang="es-MX" sz="1600" kern="100" dirty="0">
                <a:solidFill>
                  <a:schemeClr val="tx1"/>
                </a:solidFill>
                <a:latin typeface="Aptos Display" panose="020B0004020202020204" pitchFamily="34" charset="0"/>
                <a:ea typeface="Aptos" panose="020B0004020202020204" pitchFamily="34" charset="0"/>
                <a:cs typeface="Times New Roman" panose="02020603050405020304" pitchFamily="18" charset="0"/>
              </a:rPr>
              <a:t>Servicios activados por voz y tecnología en la habitación</a:t>
            </a:r>
          </a:p>
          <a:p>
            <a:pPr marL="342900" marR="0" lvl="0" indent="-342900">
              <a:lnSpc>
                <a:spcPct val="115000"/>
              </a:lnSpc>
              <a:spcAft>
                <a:spcPts val="800"/>
              </a:spcAft>
              <a:buSzPts val="1000"/>
              <a:buFont typeface="Symbol" panose="05050102010706020507" pitchFamily="18" charset="2"/>
              <a:buChar char=""/>
              <a:tabLst>
                <a:tab pos="457200" algn="l"/>
              </a:tabLst>
            </a:pPr>
            <a:r>
              <a:rPr lang="es-MX" sz="1600" kern="100" dirty="0">
                <a:solidFill>
                  <a:schemeClr val="tx1"/>
                </a:solidFill>
                <a:latin typeface="Aptos Display" panose="020B0004020202020204" pitchFamily="34" charset="0"/>
                <a:ea typeface="Aptos" panose="020B0004020202020204" pitchFamily="34" charset="0"/>
                <a:cs typeface="Times New Roman" panose="02020603050405020304" pitchFamily="18" charset="0"/>
              </a:rPr>
              <a:t>Aplicaciones móviles y portales personalizados</a:t>
            </a:r>
            <a:endParaRPr lang="es-MX" sz="1600" b="1" kern="0" dirty="0">
              <a:solidFill>
                <a:schemeClr val="tx1"/>
              </a:solidFill>
              <a:effectLst/>
              <a:latin typeface="Aptos Display" panose="020B00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7622378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F8A445-5E8E-7242-DC40-F13ED90C46D0}"/>
            </a:ext>
          </a:extLst>
        </p:cNvPr>
        <p:cNvGrpSpPr/>
        <p:nvPr/>
      </p:nvGrpSpPr>
      <p:grpSpPr>
        <a:xfrm>
          <a:off x="0" y="0"/>
          <a:ext cx="0" cy="0"/>
          <a:chOff x="0" y="0"/>
          <a:chExt cx="0" cy="0"/>
        </a:xfrm>
      </p:grpSpPr>
      <p:sp>
        <p:nvSpPr>
          <p:cNvPr id="2" name="Marcador de texto 1">
            <a:extLst>
              <a:ext uri="{FF2B5EF4-FFF2-40B4-BE49-F238E27FC236}">
                <a16:creationId xmlns:a16="http://schemas.microsoft.com/office/drawing/2014/main" id="{E0CEFD3B-0D1C-8B90-B171-AFA6EF0F5102}"/>
              </a:ext>
            </a:extLst>
          </p:cNvPr>
          <p:cNvSpPr txBox="1">
            <a:spLocks/>
          </p:cNvSpPr>
          <p:nvPr/>
        </p:nvSpPr>
        <p:spPr>
          <a:xfrm>
            <a:off x="900865" y="2351480"/>
            <a:ext cx="11762511" cy="99332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400" b="1" kern="1200">
                <a:solidFill>
                  <a:srgbClr val="014B7F"/>
                </a:solidFill>
                <a:latin typeface="Poppins" panose="00000500000000000000" pitchFamily="2" charset="0"/>
                <a:ea typeface="+mn-ea"/>
                <a:cs typeface="Poppins" panose="000005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MX" sz="2400" dirty="0"/>
              <a:t>Retos y Oportunidades</a:t>
            </a:r>
          </a:p>
          <a:p>
            <a:r>
              <a:rPr lang="es-MX" sz="2400" dirty="0"/>
              <a:t>Nuevos Modelos de Negocios y destinos en </a:t>
            </a:r>
            <a:r>
              <a:rPr lang="es-MX" sz="2400" dirty="0" err="1"/>
              <a:t>Mexico</a:t>
            </a:r>
            <a:r>
              <a:rPr lang="es-MX" sz="2400" dirty="0"/>
              <a:t> y en el Mundo</a:t>
            </a:r>
          </a:p>
        </p:txBody>
      </p:sp>
    </p:spTree>
    <p:extLst>
      <p:ext uri="{BB962C8B-B14F-4D97-AF65-F5344CB8AC3E}">
        <p14:creationId xmlns:p14="http://schemas.microsoft.com/office/powerpoint/2010/main" val="11160237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F2584B-A5BA-9E10-C02C-5A6FBF133649}"/>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C9AD3B03-4280-1237-E469-DA01E8FD8054}"/>
              </a:ext>
            </a:extLst>
          </p:cNvPr>
          <p:cNvPicPr>
            <a:picLocks noChangeAspect="1"/>
          </p:cNvPicPr>
          <p:nvPr/>
        </p:nvPicPr>
        <p:blipFill>
          <a:blip r:embed="rId2">
            <a:alphaModFix amt="20000"/>
          </a:blip>
          <a:stretch>
            <a:fillRect/>
          </a:stretch>
        </p:blipFill>
        <p:spPr>
          <a:xfrm>
            <a:off x="3820563" y="1522270"/>
            <a:ext cx="8371438" cy="5370356"/>
          </a:xfrm>
          <a:prstGeom prst="rect">
            <a:avLst/>
          </a:prstGeom>
        </p:spPr>
      </p:pic>
      <p:sp>
        <p:nvSpPr>
          <p:cNvPr id="4" name="TextBox 3">
            <a:extLst>
              <a:ext uri="{FF2B5EF4-FFF2-40B4-BE49-F238E27FC236}">
                <a16:creationId xmlns:a16="http://schemas.microsoft.com/office/drawing/2014/main" id="{CC5D4C71-B572-BFA4-0731-33584D8F394C}"/>
              </a:ext>
            </a:extLst>
          </p:cNvPr>
          <p:cNvSpPr txBox="1"/>
          <p:nvPr/>
        </p:nvSpPr>
        <p:spPr>
          <a:xfrm>
            <a:off x="481101" y="2053463"/>
            <a:ext cx="11288404" cy="369332"/>
          </a:xfrm>
          <a:prstGeom prst="rect">
            <a:avLst/>
          </a:prstGeom>
          <a:noFill/>
        </p:spPr>
        <p:txBody>
          <a:bodyPr wrap="square">
            <a:spAutoFit/>
          </a:bodyPr>
          <a:lstStyle/>
          <a:p>
            <a:pPr algn="l">
              <a:buFont typeface="+mj-lt"/>
              <a:buAutoNum type="arabicPeriod"/>
            </a:pPr>
            <a:endParaRPr lang="es-MX" b="0" i="0" dirty="0">
              <a:solidFill>
                <a:srgbClr val="111111"/>
              </a:solidFill>
              <a:effectLst/>
              <a:highlight>
                <a:srgbClr val="F7F7F7"/>
              </a:highlight>
              <a:latin typeface="-apple-system"/>
            </a:endParaRPr>
          </a:p>
        </p:txBody>
      </p:sp>
      <p:sp>
        <p:nvSpPr>
          <p:cNvPr id="2" name="Marcador de texto 1">
            <a:extLst>
              <a:ext uri="{FF2B5EF4-FFF2-40B4-BE49-F238E27FC236}">
                <a16:creationId xmlns:a16="http://schemas.microsoft.com/office/drawing/2014/main" id="{413DFA71-A016-62E2-E879-1070DA9FD9B5}"/>
              </a:ext>
            </a:extLst>
          </p:cNvPr>
          <p:cNvSpPr txBox="1">
            <a:spLocks/>
          </p:cNvSpPr>
          <p:nvPr/>
        </p:nvSpPr>
        <p:spPr>
          <a:xfrm>
            <a:off x="706171" y="563422"/>
            <a:ext cx="5701953" cy="99332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400" b="1" kern="1200">
                <a:solidFill>
                  <a:srgbClr val="014B7F"/>
                </a:solidFill>
                <a:latin typeface="Poppins" panose="00000500000000000000" pitchFamily="2" charset="0"/>
                <a:ea typeface="+mn-ea"/>
                <a:cs typeface="Poppins" panose="000005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MX" sz="2400" dirty="0"/>
              <a:t>Retos</a:t>
            </a:r>
          </a:p>
        </p:txBody>
      </p:sp>
      <p:sp>
        <p:nvSpPr>
          <p:cNvPr id="5" name="TextBox 4">
            <a:extLst>
              <a:ext uri="{FF2B5EF4-FFF2-40B4-BE49-F238E27FC236}">
                <a16:creationId xmlns:a16="http://schemas.microsoft.com/office/drawing/2014/main" id="{81AE3753-4F42-8992-81FA-06DAF7BC5B78}"/>
              </a:ext>
            </a:extLst>
          </p:cNvPr>
          <p:cNvSpPr txBox="1"/>
          <p:nvPr/>
        </p:nvSpPr>
        <p:spPr>
          <a:xfrm>
            <a:off x="735474" y="1445943"/>
            <a:ext cx="10779658" cy="4746043"/>
          </a:xfrm>
          <a:prstGeom prst="rect">
            <a:avLst/>
          </a:prstGeom>
          <a:noFill/>
        </p:spPr>
        <p:txBody>
          <a:bodyPr wrap="square">
            <a:spAutoFit/>
          </a:bodyPr>
          <a:lstStyle/>
          <a:p>
            <a:pPr marL="0" marR="0" algn="just">
              <a:lnSpc>
                <a:spcPct val="115000"/>
              </a:lnSpc>
              <a:spcAft>
                <a:spcPts val="800"/>
              </a:spcAft>
              <a:buNone/>
            </a:pPr>
            <a:r>
              <a:rPr lang="es-MX" sz="1400" kern="100" dirty="0">
                <a:effectLst/>
                <a:latin typeface="Aptos Display" panose="020B0004020202020204" pitchFamily="34" charset="0"/>
                <a:ea typeface="Aptos" panose="020B0004020202020204" pitchFamily="34" charset="0"/>
                <a:cs typeface="Times New Roman" panose="02020603050405020304" pitchFamily="18" charset="0"/>
              </a:rPr>
              <a:t>La industria de tiempo compartido y clubes vacacionales enfrentan retos y oportunidades derivados de la evolución en las expectativas de los viajeros y los cambios en el mercado global. La adaptación a nuevos modelos de negocio y la exploración de destinos emergentes son clave para el crecimiento.</a:t>
            </a:r>
          </a:p>
          <a:p>
            <a:pPr marL="0" marR="0" algn="just">
              <a:lnSpc>
                <a:spcPct val="115000"/>
              </a:lnSpc>
              <a:spcAft>
                <a:spcPts val="800"/>
              </a:spcAft>
              <a:buNone/>
            </a:pPr>
            <a:endParaRPr lang="es-MX" sz="1400" kern="100" dirty="0">
              <a:effectLst/>
              <a:latin typeface="Aptos Display" panose="020B0004020202020204" pitchFamily="34" charset="0"/>
              <a:ea typeface="Aptos" panose="020B0004020202020204" pitchFamily="34" charset="0"/>
              <a:cs typeface="Times New Roman" panose="02020603050405020304" pitchFamily="18" charset="0"/>
            </a:endParaRPr>
          </a:p>
          <a:p>
            <a:pPr marL="0" marR="0" algn="just">
              <a:lnSpc>
                <a:spcPct val="115000"/>
              </a:lnSpc>
              <a:spcAft>
                <a:spcPts val="800"/>
              </a:spcAft>
              <a:buNone/>
            </a:pPr>
            <a:r>
              <a:rPr lang="es-MX" sz="1400" b="1" kern="100" dirty="0">
                <a:effectLst/>
                <a:latin typeface="Aptos Display" panose="020B0004020202020204" pitchFamily="34" charset="0"/>
                <a:ea typeface="Aptos" panose="020B0004020202020204" pitchFamily="34" charset="0"/>
                <a:cs typeface="Times New Roman" panose="02020603050405020304" pitchFamily="18" charset="0"/>
              </a:rPr>
              <a:t>Algunos de los retos:</a:t>
            </a:r>
            <a:endParaRPr lang="en-US" sz="1400" kern="100" dirty="0">
              <a:effectLst/>
              <a:latin typeface="Aptos Display" panose="020B0004020202020204" pitchFamily="34" charset="0"/>
              <a:ea typeface="Aptos" panose="020B0004020202020204" pitchFamily="34" charset="0"/>
              <a:cs typeface="Times New Roman" panose="02020603050405020304" pitchFamily="18" charset="0"/>
            </a:endParaRPr>
          </a:p>
          <a:p>
            <a:pPr marL="342900" marR="0" lvl="0" indent="-342900" algn="just">
              <a:lnSpc>
                <a:spcPct val="115000"/>
              </a:lnSpc>
              <a:spcAft>
                <a:spcPts val="800"/>
              </a:spcAft>
              <a:buSzPts val="1000"/>
              <a:buFont typeface="Symbol" panose="05050102010706020507" pitchFamily="18" charset="2"/>
              <a:buChar char=""/>
              <a:tabLst>
                <a:tab pos="457200" algn="l"/>
              </a:tabLst>
            </a:pPr>
            <a:r>
              <a:rPr lang="es-MX" sz="1400" b="1" kern="100" dirty="0">
                <a:effectLst/>
                <a:latin typeface="Aptos Display" panose="020B0004020202020204" pitchFamily="34" charset="0"/>
                <a:ea typeface="Aptos" panose="020B0004020202020204" pitchFamily="34" charset="0"/>
                <a:cs typeface="Times New Roman" panose="02020603050405020304" pitchFamily="18" charset="0"/>
              </a:rPr>
              <a:t>Adaptación a la flexibilidad:	</a:t>
            </a:r>
            <a:r>
              <a:rPr lang="es-MX" sz="1400" b="1" kern="100" dirty="0">
                <a:latin typeface="Aptos Display" panose="020B0004020202020204" pitchFamily="34" charset="0"/>
                <a:ea typeface="Aptos" panose="020B0004020202020204" pitchFamily="34" charset="0"/>
                <a:cs typeface="Times New Roman" panose="02020603050405020304" pitchFamily="18" charset="0"/>
              </a:rPr>
              <a:t>	</a:t>
            </a:r>
            <a:r>
              <a:rPr lang="es-MX" sz="1400" kern="100" dirty="0">
                <a:effectLst/>
                <a:latin typeface="Aptos Display" panose="020B0004020202020204" pitchFamily="34" charset="0"/>
                <a:ea typeface="Aptos" panose="020B0004020202020204" pitchFamily="34" charset="0"/>
                <a:cs typeface="Times New Roman" panose="02020603050405020304" pitchFamily="18" charset="0"/>
              </a:rPr>
              <a:t>Los viajeros, especialmente los </a:t>
            </a:r>
            <a:r>
              <a:rPr lang="es-MX" sz="1400" i="1" kern="100" dirty="0" err="1">
                <a:effectLst/>
                <a:latin typeface="Aptos Display" panose="020B0004020202020204" pitchFamily="34" charset="0"/>
                <a:ea typeface="Aptos" panose="020B0004020202020204" pitchFamily="34" charset="0"/>
                <a:cs typeface="Times New Roman" panose="02020603050405020304" pitchFamily="18" charset="0"/>
              </a:rPr>
              <a:t>millennials</a:t>
            </a:r>
            <a:r>
              <a:rPr lang="es-MX" sz="1400" kern="100" dirty="0">
                <a:effectLst/>
                <a:latin typeface="Aptos Display" panose="020B0004020202020204" pitchFamily="34" charset="0"/>
                <a:ea typeface="Aptos" panose="020B0004020202020204" pitchFamily="34" charset="0"/>
                <a:cs typeface="Times New Roman" panose="02020603050405020304" pitchFamily="18" charset="0"/>
              </a:rPr>
              <a:t>, buscan más flexibilidad que la que ofrece el 						modelo de propiedad tradicional. </a:t>
            </a:r>
          </a:p>
          <a:p>
            <a:pPr marL="342900" marR="0" lvl="0" indent="-342900" algn="just">
              <a:lnSpc>
                <a:spcPct val="115000"/>
              </a:lnSpc>
              <a:spcAft>
                <a:spcPts val="800"/>
              </a:spcAft>
              <a:buSzPts val="1000"/>
              <a:buFont typeface="Symbol" panose="05050102010706020507" pitchFamily="18" charset="2"/>
              <a:buChar char=""/>
              <a:tabLst>
                <a:tab pos="457200" algn="l"/>
              </a:tabLst>
            </a:pPr>
            <a:r>
              <a:rPr lang="es-MX" sz="1400" b="1" kern="100" dirty="0">
                <a:effectLst/>
                <a:latin typeface="Aptos Display" panose="020B0004020202020204" pitchFamily="34" charset="0"/>
                <a:ea typeface="Aptos" panose="020B0004020202020204" pitchFamily="34" charset="0"/>
                <a:cs typeface="Times New Roman" panose="02020603050405020304" pitchFamily="18" charset="0"/>
              </a:rPr>
              <a:t>Compromiso:	</a:t>
            </a:r>
            <a:r>
              <a:rPr lang="es-MX" sz="1400" kern="100" dirty="0">
                <a:effectLst/>
                <a:latin typeface="Aptos Display" panose="020B0004020202020204" pitchFamily="34" charset="0"/>
                <a:ea typeface="Aptos" panose="020B0004020202020204" pitchFamily="34" charset="0"/>
                <a:cs typeface="Times New Roman" panose="02020603050405020304" pitchFamily="18" charset="0"/>
              </a:rPr>
              <a:t> 		Muchos viajeros priorizan las experiencias sobre la propiedad de bienes. Esto </a:t>
            </a:r>
            <a:r>
              <a:rPr lang="es-MX" sz="1400" kern="100" dirty="0">
                <a:latin typeface="Aptos Display" panose="020B0004020202020204" pitchFamily="34" charset="0"/>
                <a:ea typeface="Aptos" panose="020B0004020202020204" pitchFamily="34" charset="0"/>
                <a:cs typeface="Times New Roman" panose="02020603050405020304" pitchFamily="18" charset="0"/>
              </a:rPr>
              <a:t>r</a:t>
            </a:r>
            <a:r>
              <a:rPr lang="es-MX" sz="1400" kern="100" dirty="0">
                <a:effectLst/>
                <a:latin typeface="Aptos Display" panose="020B0004020202020204" pitchFamily="34" charset="0"/>
                <a:ea typeface="Aptos" panose="020B0004020202020204" pitchFamily="34" charset="0"/>
                <a:cs typeface="Times New Roman" panose="02020603050405020304" pitchFamily="18" charset="0"/>
              </a:rPr>
              <a:t>eta a que 						los clientes demandan más valor experiencial y menos compromiso a largo plazo. </a:t>
            </a:r>
          </a:p>
          <a:p>
            <a:pPr marL="342900" indent="-342900" algn="just">
              <a:lnSpc>
                <a:spcPct val="115000"/>
              </a:lnSpc>
              <a:spcAft>
                <a:spcPts val="800"/>
              </a:spcAft>
              <a:buSzPts val="1000"/>
              <a:buFont typeface="Symbol" panose="05050102010706020507" pitchFamily="18" charset="2"/>
              <a:buChar char=""/>
              <a:tabLst>
                <a:tab pos="457200" algn="l"/>
              </a:tabLst>
            </a:pPr>
            <a:r>
              <a:rPr lang="es-MX" sz="1400" b="1" kern="100" dirty="0">
                <a:latin typeface="Aptos Display" panose="020B0004020202020204" pitchFamily="34" charset="0"/>
                <a:ea typeface="Aptos" panose="020B0004020202020204" pitchFamily="34" charset="0"/>
                <a:cs typeface="Times New Roman" panose="02020603050405020304" pitchFamily="18" charset="0"/>
              </a:rPr>
              <a:t>Nuevos competidores:</a:t>
            </a:r>
            <a:r>
              <a:rPr lang="es-MX" sz="1400" kern="100" dirty="0">
                <a:latin typeface="Aptos Display" panose="020B0004020202020204" pitchFamily="34" charset="0"/>
                <a:ea typeface="Aptos" panose="020B0004020202020204" pitchFamily="34" charset="0"/>
                <a:cs typeface="Times New Roman" panose="02020603050405020304" pitchFamily="18" charset="0"/>
              </a:rPr>
              <a:t> 		Nuevos clubes de viajes que operan a través de aplicaciones ofrecen tarifas más bajas en 						hoteles y cruceros, atrayendo a segmentos más jóvenes del mercado.</a:t>
            </a:r>
            <a:endParaRPr lang="es-ES" sz="1400" dirty="0">
              <a:latin typeface="Aptos Display" panose="020B0004020202020204" pitchFamily="34" charset="0"/>
            </a:endParaRPr>
          </a:p>
          <a:p>
            <a:pPr marL="285750" indent="-285750">
              <a:buFont typeface="Arial" panose="020B0604020202020204" pitchFamily="34" charset="0"/>
              <a:buChar char="•"/>
            </a:pPr>
            <a:r>
              <a:rPr lang="es-ES" sz="1400" b="1" dirty="0">
                <a:latin typeface="Aptos Display" panose="020B0004020202020204" pitchFamily="34" charset="0"/>
              </a:rPr>
              <a:t>Imagen:				</a:t>
            </a:r>
            <a:r>
              <a:rPr lang="es-ES" sz="1400" dirty="0">
                <a:latin typeface="Aptos Display" panose="020B0004020202020204" pitchFamily="34" charset="0"/>
              </a:rPr>
              <a:t>Problemas de percepción hacia el modelo de tiempo compartido  además del aumento en 				empresas no legitimas que dañan por completo la imagen de la industria ante el consumidor.</a:t>
            </a:r>
          </a:p>
          <a:p>
            <a:pPr marL="285750" indent="-285750">
              <a:buFont typeface="Arial" panose="020B0604020202020204" pitchFamily="34" charset="0"/>
              <a:buChar char="•"/>
            </a:pPr>
            <a:endParaRPr lang="es-ES" sz="1400" dirty="0">
              <a:latin typeface="Aptos Display" panose="020B0004020202020204" pitchFamily="34" charset="0"/>
            </a:endParaRPr>
          </a:p>
          <a:p>
            <a:pPr marL="285750" indent="-285750">
              <a:buFont typeface="Arial" panose="020B0604020202020204" pitchFamily="34" charset="0"/>
              <a:buChar char="•"/>
            </a:pPr>
            <a:r>
              <a:rPr lang="es-ES" sz="1400" b="1" dirty="0">
                <a:latin typeface="Aptos Display" panose="020B0004020202020204" pitchFamily="34" charset="0"/>
              </a:rPr>
              <a:t>Financiamiento limitado :		</a:t>
            </a:r>
            <a:r>
              <a:rPr lang="es-ES" sz="1400" dirty="0">
                <a:latin typeface="Aptos Display" panose="020B0004020202020204" pitchFamily="34" charset="0"/>
              </a:rPr>
              <a:t>Los bancos prefieren invertir en zonas con historial turístico comprobado que en nuevos 					destinos. Esto dificulta el desarrollo de nuevos proyectos en lugares menos conocidos</a:t>
            </a:r>
            <a:endParaRPr lang="es-MX" sz="1400" kern="100" dirty="0">
              <a:latin typeface="Aptos Display" panose="020B0004020202020204" pitchFamily="34" charset="0"/>
              <a:ea typeface="Aptos" panose="020B0004020202020204" pitchFamily="34" charset="0"/>
              <a:cs typeface="Times New Roman" panose="02020603050405020304" pitchFamily="18" charset="0"/>
            </a:endParaRPr>
          </a:p>
          <a:p>
            <a:pPr marL="342900" marR="0" lvl="0" indent="-342900" algn="just">
              <a:lnSpc>
                <a:spcPct val="115000"/>
              </a:lnSpc>
              <a:spcAft>
                <a:spcPts val="800"/>
              </a:spcAft>
              <a:buSzPts val="1000"/>
              <a:buFont typeface="Symbol" panose="05050102010706020507" pitchFamily="18" charset="2"/>
              <a:buChar char=""/>
              <a:tabLst>
                <a:tab pos="457200" algn="l"/>
              </a:tabLst>
            </a:pPr>
            <a:endParaRPr lang="en-US" sz="1400" kern="100" dirty="0">
              <a:effectLst/>
              <a:latin typeface="Aptos Display" panose="020B0004020202020204" pitchFamily="34" charset="0"/>
              <a:ea typeface="Aptos" panose="020B0004020202020204" pitchFamily="34" charset="0"/>
              <a:cs typeface="Times New Roman" panose="02020603050405020304" pitchFamily="18" charset="0"/>
            </a:endParaRPr>
          </a:p>
        </p:txBody>
      </p:sp>
      <p:pic>
        <p:nvPicPr>
          <p:cNvPr id="9" name="Picture 8">
            <a:extLst>
              <a:ext uri="{FF2B5EF4-FFF2-40B4-BE49-F238E27FC236}">
                <a16:creationId xmlns:a16="http://schemas.microsoft.com/office/drawing/2014/main" id="{1A561663-8EF4-8AC2-2AE0-D3A067878A50}"/>
              </a:ext>
            </a:extLst>
          </p:cNvPr>
          <p:cNvPicPr>
            <a:picLocks noChangeAspect="1"/>
          </p:cNvPicPr>
          <p:nvPr/>
        </p:nvPicPr>
        <p:blipFill>
          <a:blip r:embed="rId3"/>
          <a:stretch>
            <a:fillRect/>
          </a:stretch>
        </p:blipFill>
        <p:spPr>
          <a:xfrm>
            <a:off x="1855960" y="398351"/>
            <a:ext cx="569589" cy="741607"/>
          </a:xfrm>
          <a:prstGeom prst="rect">
            <a:avLst/>
          </a:prstGeom>
        </p:spPr>
      </p:pic>
    </p:spTree>
    <p:extLst>
      <p:ext uri="{BB962C8B-B14F-4D97-AF65-F5344CB8AC3E}">
        <p14:creationId xmlns:p14="http://schemas.microsoft.com/office/powerpoint/2010/main" val="2527672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52A445-CF49-6253-47A3-24CFAC90C97D}"/>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5B5DB05F-9DD9-37FD-75DA-6ECCB9852239}"/>
              </a:ext>
            </a:extLst>
          </p:cNvPr>
          <p:cNvSpPr txBox="1"/>
          <p:nvPr/>
        </p:nvSpPr>
        <p:spPr>
          <a:xfrm>
            <a:off x="481101" y="2053463"/>
            <a:ext cx="11288404" cy="369332"/>
          </a:xfrm>
          <a:prstGeom prst="rect">
            <a:avLst/>
          </a:prstGeom>
          <a:noFill/>
        </p:spPr>
        <p:txBody>
          <a:bodyPr wrap="square">
            <a:spAutoFit/>
          </a:bodyPr>
          <a:lstStyle/>
          <a:p>
            <a:pPr algn="l">
              <a:buFont typeface="+mj-lt"/>
              <a:buAutoNum type="arabicPeriod"/>
            </a:pPr>
            <a:endParaRPr lang="es-MX" b="0" i="0" dirty="0">
              <a:solidFill>
                <a:srgbClr val="111111"/>
              </a:solidFill>
              <a:effectLst/>
              <a:highlight>
                <a:srgbClr val="F7F7F7"/>
              </a:highlight>
              <a:latin typeface="-apple-system"/>
            </a:endParaRPr>
          </a:p>
        </p:txBody>
      </p:sp>
      <p:sp>
        <p:nvSpPr>
          <p:cNvPr id="7" name="TextBox 6">
            <a:extLst>
              <a:ext uri="{FF2B5EF4-FFF2-40B4-BE49-F238E27FC236}">
                <a16:creationId xmlns:a16="http://schemas.microsoft.com/office/drawing/2014/main" id="{B7855998-9A62-C861-FE67-7F8B7D864842}"/>
              </a:ext>
            </a:extLst>
          </p:cNvPr>
          <p:cNvSpPr txBox="1"/>
          <p:nvPr/>
        </p:nvSpPr>
        <p:spPr>
          <a:xfrm>
            <a:off x="852051" y="1501444"/>
            <a:ext cx="10633778" cy="2031325"/>
          </a:xfrm>
          <a:prstGeom prst="rect">
            <a:avLst/>
          </a:prstGeom>
          <a:noFill/>
        </p:spPr>
        <p:txBody>
          <a:bodyPr wrap="square">
            <a:spAutoFit/>
          </a:bodyPr>
          <a:lstStyle/>
          <a:p>
            <a:pPr fontAlgn="base"/>
            <a:r>
              <a:rPr lang="es-ES" sz="1400" b="1" dirty="0">
                <a:latin typeface="Aptos Display" panose="020B0004020202020204" pitchFamily="34" charset="0"/>
              </a:rPr>
              <a:t>Concentración en destinos tradicionales</a:t>
            </a:r>
          </a:p>
          <a:p>
            <a:pPr fontAlgn="base"/>
            <a:endParaRPr lang="es-ES" sz="1400" dirty="0">
              <a:latin typeface="Aptos Display" panose="020B0004020202020204" pitchFamily="34" charset="0"/>
            </a:endParaRPr>
          </a:p>
          <a:p>
            <a:pPr fontAlgn="base"/>
            <a:r>
              <a:rPr lang="es-ES" sz="1400" dirty="0">
                <a:latin typeface="Aptos Display" panose="020B0004020202020204" pitchFamily="34" charset="0"/>
              </a:rPr>
              <a:t>¿Es posible llevar el modelo de propiedad vacacional a destinos sin playa?</a:t>
            </a:r>
          </a:p>
          <a:p>
            <a:pPr fontAlgn="base"/>
            <a:endParaRPr lang="es-ES" sz="1400" b="1" dirty="0">
              <a:latin typeface="Aptos Display" panose="020B0004020202020204" pitchFamily="34" charset="0"/>
            </a:endParaRPr>
          </a:p>
          <a:p>
            <a:pPr fontAlgn="base"/>
            <a:r>
              <a:rPr lang="es-ES" sz="1400" dirty="0">
                <a:latin typeface="Aptos Display" panose="020B0004020202020204" pitchFamily="34" charset="0"/>
              </a:rPr>
              <a:t>El crecimiento en destinos emergentes  es claro, existe un interés creciente por diversificar hacia  destinos no tradicionales, tanto de playa como de interior del país, con un alto potencial de tener proyectos de propiedad vacacional . El reto de concentración en destinos tradicionales es clave para entender la dinámica actual de los Clubes Vacacionales.</a:t>
            </a:r>
          </a:p>
          <a:p>
            <a:pPr algn="l" fontAlgn="base">
              <a:buNone/>
            </a:pPr>
            <a:endParaRPr lang="es-ES" sz="1400" dirty="0">
              <a:latin typeface="Aptos Display" panose="020B0004020202020204" pitchFamily="34" charset="0"/>
            </a:endParaRPr>
          </a:p>
          <a:p>
            <a:pPr fontAlgn="base"/>
            <a:r>
              <a:rPr lang="es-ES" sz="1400" b="0" i="0" dirty="0">
                <a:effectLst/>
                <a:latin typeface="Aptos Display" panose="020B0004020202020204" pitchFamily="34" charset="0"/>
              </a:rPr>
              <a:t>Hoy en día, los destinos Consolidados </a:t>
            </a:r>
            <a:r>
              <a:rPr lang="es-ES" sz="1400" dirty="0">
                <a:latin typeface="Aptos Display" panose="020B0004020202020204" pitchFamily="34" charset="0"/>
              </a:rPr>
              <a:t>c</a:t>
            </a:r>
            <a:r>
              <a:rPr lang="es-ES" sz="1400" b="0" i="0" dirty="0">
                <a:effectLst/>
                <a:latin typeface="Aptos Display" panose="020B0004020202020204" pitchFamily="34" charset="0"/>
              </a:rPr>
              <a:t>oncentran </a:t>
            </a:r>
            <a:r>
              <a:rPr lang="es-ES" sz="1400" b="1" i="1" dirty="0">
                <a:effectLst/>
                <a:latin typeface="Aptos Display" panose="020B0004020202020204" pitchFamily="34" charset="0"/>
              </a:rPr>
              <a:t>cerca del 80% </a:t>
            </a:r>
            <a:r>
              <a:rPr lang="es-ES" sz="1400" b="0" i="0" dirty="0">
                <a:effectLst/>
                <a:latin typeface="Aptos Display" panose="020B0004020202020204" pitchFamily="34" charset="0"/>
              </a:rPr>
              <a:t>del negocio turístico en México.</a:t>
            </a:r>
          </a:p>
        </p:txBody>
      </p:sp>
      <p:pic>
        <p:nvPicPr>
          <p:cNvPr id="15" name="Picture 14">
            <a:extLst>
              <a:ext uri="{FF2B5EF4-FFF2-40B4-BE49-F238E27FC236}">
                <a16:creationId xmlns:a16="http://schemas.microsoft.com/office/drawing/2014/main" id="{14EDB79D-64EE-9534-6234-D673D81A96BE}"/>
              </a:ext>
            </a:extLst>
          </p:cNvPr>
          <p:cNvPicPr>
            <a:picLocks noChangeAspect="1"/>
          </p:cNvPicPr>
          <p:nvPr/>
        </p:nvPicPr>
        <p:blipFill>
          <a:blip r:embed="rId2"/>
          <a:stretch>
            <a:fillRect/>
          </a:stretch>
        </p:blipFill>
        <p:spPr>
          <a:xfrm>
            <a:off x="1855960" y="398351"/>
            <a:ext cx="569589" cy="741607"/>
          </a:xfrm>
          <a:prstGeom prst="rect">
            <a:avLst/>
          </a:prstGeom>
        </p:spPr>
      </p:pic>
      <p:sp>
        <p:nvSpPr>
          <p:cNvPr id="16" name="Marcador de texto 1">
            <a:extLst>
              <a:ext uri="{FF2B5EF4-FFF2-40B4-BE49-F238E27FC236}">
                <a16:creationId xmlns:a16="http://schemas.microsoft.com/office/drawing/2014/main" id="{7AB60022-8BAE-0A14-9182-AE6E073E46F0}"/>
              </a:ext>
            </a:extLst>
          </p:cNvPr>
          <p:cNvSpPr txBox="1">
            <a:spLocks/>
          </p:cNvSpPr>
          <p:nvPr/>
        </p:nvSpPr>
        <p:spPr>
          <a:xfrm>
            <a:off x="706171" y="563422"/>
            <a:ext cx="5701953" cy="99332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400" b="1" kern="1200">
                <a:solidFill>
                  <a:srgbClr val="014B7F"/>
                </a:solidFill>
                <a:latin typeface="Poppins" panose="00000500000000000000" pitchFamily="2" charset="0"/>
                <a:ea typeface="+mn-ea"/>
                <a:cs typeface="Poppins" panose="000005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MX" sz="2400" dirty="0"/>
              <a:t>Retos</a:t>
            </a:r>
          </a:p>
        </p:txBody>
      </p:sp>
      <p:sp>
        <p:nvSpPr>
          <p:cNvPr id="21" name="Rectangle: Rounded Corners 20">
            <a:extLst>
              <a:ext uri="{FF2B5EF4-FFF2-40B4-BE49-F238E27FC236}">
                <a16:creationId xmlns:a16="http://schemas.microsoft.com/office/drawing/2014/main" id="{34DD94DE-E870-9AE1-5349-31841E3F9FE0}"/>
              </a:ext>
            </a:extLst>
          </p:cNvPr>
          <p:cNvSpPr/>
          <p:nvPr/>
        </p:nvSpPr>
        <p:spPr>
          <a:xfrm>
            <a:off x="1566426" y="3808530"/>
            <a:ext cx="3667125" cy="1933575"/>
          </a:xfrm>
          <a:prstGeom prst="roundRect">
            <a:avLst/>
          </a:prstGeom>
          <a:gradFill>
            <a:gsLst>
              <a:gs pos="0">
                <a:schemeClr val="accent1">
                  <a:lumMod val="5000"/>
                  <a:lumOff val="95000"/>
                </a:schemeClr>
              </a:gs>
              <a:gs pos="57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buNone/>
            </a:pPr>
            <a:r>
              <a:rPr lang="es-ES" sz="1400" b="1" dirty="0">
                <a:solidFill>
                  <a:schemeClr val="tx1"/>
                </a:solidFill>
                <a:latin typeface="Aptos Display" panose="020B0004020202020204" pitchFamily="34" charset="0"/>
              </a:rPr>
              <a:t>Dependencia de destinos consolidados</a:t>
            </a:r>
            <a:r>
              <a:rPr lang="es-ES" sz="1400" dirty="0">
                <a:solidFill>
                  <a:schemeClr val="tx1"/>
                </a:solidFill>
                <a:latin typeface="Aptos Display" panose="020B0004020202020204" pitchFamily="34" charset="0"/>
              </a:rPr>
              <a:t> como Cancún, Riviera Maya, Vallarta y Los Cabos implica:</a:t>
            </a:r>
          </a:p>
          <a:p>
            <a:pPr algn="just">
              <a:buNone/>
            </a:pPr>
            <a:endParaRPr lang="es-ES" sz="1400" dirty="0">
              <a:solidFill>
                <a:schemeClr val="tx1"/>
              </a:solidFill>
              <a:latin typeface="Aptos Display" panose="020B0004020202020204" pitchFamily="34" charset="0"/>
            </a:endParaRPr>
          </a:p>
          <a:p>
            <a:pPr algn="just">
              <a:buFont typeface="Arial" panose="020B0604020202020204" pitchFamily="34" charset="0"/>
              <a:buChar char="•"/>
            </a:pPr>
            <a:r>
              <a:rPr lang="es-ES" sz="1400" dirty="0">
                <a:solidFill>
                  <a:schemeClr val="tx1"/>
                </a:solidFill>
                <a:latin typeface="Aptos Display" panose="020B0004020202020204" pitchFamily="34" charset="0"/>
              </a:rPr>
              <a:t>Saturación de mercado.</a:t>
            </a:r>
          </a:p>
          <a:p>
            <a:pPr algn="just">
              <a:buFont typeface="Arial" panose="020B0604020202020204" pitchFamily="34" charset="0"/>
              <a:buChar char="•"/>
            </a:pPr>
            <a:r>
              <a:rPr lang="es-ES" sz="1400" dirty="0">
                <a:solidFill>
                  <a:schemeClr val="tx1"/>
                </a:solidFill>
                <a:latin typeface="Aptos Display" panose="020B0004020202020204" pitchFamily="34" charset="0"/>
              </a:rPr>
              <a:t>Competencia intensa.</a:t>
            </a:r>
          </a:p>
          <a:p>
            <a:pPr algn="just">
              <a:buFont typeface="Arial" panose="020B0604020202020204" pitchFamily="34" charset="0"/>
              <a:buChar char="•"/>
            </a:pPr>
            <a:r>
              <a:rPr lang="es-ES" sz="1400" dirty="0">
                <a:solidFill>
                  <a:schemeClr val="tx1"/>
                </a:solidFill>
                <a:latin typeface="Aptos Display" panose="020B0004020202020204" pitchFamily="34" charset="0"/>
              </a:rPr>
              <a:t>Menor margen de innovación.</a:t>
            </a:r>
          </a:p>
          <a:p>
            <a:pPr algn="just"/>
            <a:endParaRPr lang="en-US" dirty="0"/>
          </a:p>
        </p:txBody>
      </p:sp>
      <p:sp>
        <p:nvSpPr>
          <p:cNvPr id="22" name="Rectangle: Rounded Corners 21">
            <a:extLst>
              <a:ext uri="{FF2B5EF4-FFF2-40B4-BE49-F238E27FC236}">
                <a16:creationId xmlns:a16="http://schemas.microsoft.com/office/drawing/2014/main" id="{65B70395-B08E-10A0-9D72-A4CE5A24EDAB}"/>
              </a:ext>
            </a:extLst>
          </p:cNvPr>
          <p:cNvSpPr/>
          <p:nvPr/>
        </p:nvSpPr>
        <p:spPr>
          <a:xfrm>
            <a:off x="6786126" y="3808529"/>
            <a:ext cx="3667125" cy="1933575"/>
          </a:xfrm>
          <a:prstGeom prst="roundRect">
            <a:avLst/>
          </a:prstGeom>
          <a:gradFill>
            <a:gsLst>
              <a:gs pos="0">
                <a:schemeClr val="accent1">
                  <a:lumMod val="5000"/>
                  <a:lumOff val="95000"/>
                </a:schemeClr>
              </a:gs>
              <a:gs pos="57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s-ES" sz="1400" b="1" dirty="0">
                <a:solidFill>
                  <a:schemeClr val="tx1"/>
                </a:solidFill>
                <a:latin typeface="Aptos Display" panose="020B0004020202020204" pitchFamily="34" charset="0"/>
              </a:rPr>
              <a:t>Destinos emergentes</a:t>
            </a:r>
            <a:r>
              <a:rPr lang="es-ES" sz="1400" dirty="0">
                <a:solidFill>
                  <a:schemeClr val="tx1"/>
                </a:solidFill>
                <a:latin typeface="Aptos Display" panose="020B0004020202020204" pitchFamily="34" charset="0"/>
              </a:rPr>
              <a:t> como Oaxaca, San Miguel de Allende o Tequila tienen gran potencial cultural y gastronómico, pero enfrentan:</a:t>
            </a:r>
          </a:p>
          <a:p>
            <a:pPr marL="285750" indent="-285750">
              <a:buFont typeface="Arial" panose="020B0604020202020204" pitchFamily="34" charset="0"/>
              <a:buChar char="•"/>
            </a:pPr>
            <a:r>
              <a:rPr lang="es-ES" sz="1400" dirty="0">
                <a:solidFill>
                  <a:schemeClr val="tx1"/>
                </a:solidFill>
                <a:latin typeface="Aptos Display" panose="020B0004020202020204" pitchFamily="34" charset="0"/>
              </a:rPr>
              <a:t>Infraestructura turística limitada.</a:t>
            </a:r>
          </a:p>
          <a:p>
            <a:pPr marL="285750" indent="-285750">
              <a:buFont typeface="Arial" panose="020B0604020202020204" pitchFamily="34" charset="0"/>
              <a:buChar char="•"/>
            </a:pPr>
            <a:r>
              <a:rPr lang="es-ES" sz="1400" dirty="0">
                <a:solidFill>
                  <a:schemeClr val="tx1"/>
                </a:solidFill>
                <a:latin typeface="Aptos Display" panose="020B0004020202020204" pitchFamily="34" charset="0"/>
              </a:rPr>
              <a:t>Poca conectividad aérea.</a:t>
            </a:r>
          </a:p>
          <a:p>
            <a:pPr marL="285750" indent="-285750">
              <a:buFont typeface="Arial" panose="020B0604020202020204" pitchFamily="34" charset="0"/>
              <a:buChar char="•"/>
            </a:pPr>
            <a:r>
              <a:rPr lang="es-ES" sz="1400" dirty="0">
                <a:solidFill>
                  <a:schemeClr val="tx1"/>
                </a:solidFill>
                <a:latin typeface="Aptos Display" panose="020B0004020202020204" pitchFamily="34" charset="0"/>
              </a:rPr>
              <a:t>Escasez de talento capacitado en hospitalidad.</a:t>
            </a:r>
            <a:endParaRPr lang="en-US" dirty="0"/>
          </a:p>
        </p:txBody>
      </p:sp>
      <p:pic>
        <p:nvPicPr>
          <p:cNvPr id="23" name="Picture 22">
            <a:extLst>
              <a:ext uri="{FF2B5EF4-FFF2-40B4-BE49-F238E27FC236}">
                <a16:creationId xmlns:a16="http://schemas.microsoft.com/office/drawing/2014/main" id="{9440098F-AD0E-E51E-3644-D137A849A873}"/>
              </a:ext>
            </a:extLst>
          </p:cNvPr>
          <p:cNvPicPr>
            <a:picLocks noChangeAspect="1"/>
          </p:cNvPicPr>
          <p:nvPr/>
        </p:nvPicPr>
        <p:blipFill>
          <a:blip r:embed="rId3">
            <a:alphaModFix amt="20000"/>
          </a:blip>
          <a:stretch>
            <a:fillRect/>
          </a:stretch>
        </p:blipFill>
        <p:spPr>
          <a:xfrm>
            <a:off x="5140464" y="4208138"/>
            <a:ext cx="1738749" cy="1148418"/>
          </a:xfrm>
          <a:prstGeom prst="rect">
            <a:avLst/>
          </a:prstGeom>
        </p:spPr>
      </p:pic>
    </p:spTree>
    <p:extLst>
      <p:ext uri="{BB962C8B-B14F-4D97-AF65-F5344CB8AC3E}">
        <p14:creationId xmlns:p14="http://schemas.microsoft.com/office/powerpoint/2010/main" val="15004659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A3E604-0CB8-FA8C-5D55-DB53B8B24D7B}"/>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5039A5EB-7F00-7D04-3B28-7AB295DA5266}"/>
              </a:ext>
            </a:extLst>
          </p:cNvPr>
          <p:cNvSpPr txBox="1"/>
          <p:nvPr/>
        </p:nvSpPr>
        <p:spPr>
          <a:xfrm>
            <a:off x="481101" y="2053463"/>
            <a:ext cx="11288404" cy="369332"/>
          </a:xfrm>
          <a:prstGeom prst="rect">
            <a:avLst/>
          </a:prstGeom>
          <a:noFill/>
        </p:spPr>
        <p:txBody>
          <a:bodyPr wrap="square">
            <a:spAutoFit/>
          </a:bodyPr>
          <a:lstStyle/>
          <a:p>
            <a:pPr algn="l">
              <a:buFont typeface="+mj-lt"/>
              <a:buAutoNum type="arabicPeriod"/>
            </a:pPr>
            <a:endParaRPr lang="es-MX" b="0" i="0" dirty="0">
              <a:solidFill>
                <a:srgbClr val="111111"/>
              </a:solidFill>
              <a:effectLst/>
              <a:highlight>
                <a:srgbClr val="F7F7F7"/>
              </a:highlight>
              <a:latin typeface="-apple-system"/>
            </a:endParaRPr>
          </a:p>
        </p:txBody>
      </p:sp>
      <p:sp>
        <p:nvSpPr>
          <p:cNvPr id="2" name="Marcador de texto 1">
            <a:extLst>
              <a:ext uri="{FF2B5EF4-FFF2-40B4-BE49-F238E27FC236}">
                <a16:creationId xmlns:a16="http://schemas.microsoft.com/office/drawing/2014/main" id="{5E779CAC-FC45-E750-9E42-0BD6FEB7302B}"/>
              </a:ext>
            </a:extLst>
          </p:cNvPr>
          <p:cNvSpPr txBox="1">
            <a:spLocks/>
          </p:cNvSpPr>
          <p:nvPr/>
        </p:nvSpPr>
        <p:spPr>
          <a:xfrm>
            <a:off x="294745" y="413444"/>
            <a:ext cx="5701953" cy="99332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400" b="1" kern="1200">
                <a:solidFill>
                  <a:srgbClr val="014B7F"/>
                </a:solidFill>
                <a:latin typeface="Poppins" panose="00000500000000000000" pitchFamily="2" charset="0"/>
                <a:ea typeface="+mn-ea"/>
                <a:cs typeface="Poppins" panose="000005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MX" sz="2400" dirty="0"/>
              <a:t>Oportunidades</a:t>
            </a:r>
          </a:p>
        </p:txBody>
      </p:sp>
      <p:sp>
        <p:nvSpPr>
          <p:cNvPr id="5" name="TextBox 4">
            <a:extLst>
              <a:ext uri="{FF2B5EF4-FFF2-40B4-BE49-F238E27FC236}">
                <a16:creationId xmlns:a16="http://schemas.microsoft.com/office/drawing/2014/main" id="{A64B0114-AB74-2021-6B15-8FB0B241DD8D}"/>
              </a:ext>
            </a:extLst>
          </p:cNvPr>
          <p:cNvSpPr txBox="1"/>
          <p:nvPr/>
        </p:nvSpPr>
        <p:spPr>
          <a:xfrm>
            <a:off x="481101" y="1622331"/>
            <a:ext cx="11288404" cy="3668825"/>
          </a:xfrm>
          <a:prstGeom prst="rect">
            <a:avLst/>
          </a:prstGeom>
          <a:noFill/>
        </p:spPr>
        <p:txBody>
          <a:bodyPr wrap="square">
            <a:spAutoFit/>
          </a:bodyPr>
          <a:lstStyle/>
          <a:p>
            <a:pPr marL="0" marR="0">
              <a:lnSpc>
                <a:spcPct val="115000"/>
              </a:lnSpc>
              <a:spcAft>
                <a:spcPts val="800"/>
              </a:spcAft>
              <a:buNone/>
            </a:pPr>
            <a:endParaRPr lang="en-US" sz="1400" kern="100" dirty="0">
              <a:effectLst/>
              <a:latin typeface="Aptos Display" panose="020B0004020202020204" pitchFamily="34" charset="0"/>
              <a:ea typeface="Aptos" panose="020B0004020202020204" pitchFamily="34" charset="0"/>
              <a:cs typeface="Times New Roman" panose="02020603050405020304" pitchFamily="18" charset="0"/>
            </a:endParaRPr>
          </a:p>
          <a:p>
            <a:pPr marL="342900" marR="0" lvl="0" indent="-342900">
              <a:lnSpc>
                <a:spcPct val="115000"/>
              </a:lnSpc>
              <a:spcAft>
                <a:spcPts val="800"/>
              </a:spcAft>
              <a:buSzPts val="1000"/>
              <a:buFont typeface="Symbol" panose="05050102010706020507" pitchFamily="18" charset="2"/>
              <a:buChar char=""/>
              <a:tabLst>
                <a:tab pos="457200" algn="l"/>
              </a:tabLst>
            </a:pPr>
            <a:r>
              <a:rPr lang="es-MX" sz="1400" b="1" kern="100" dirty="0">
                <a:effectLst/>
                <a:latin typeface="Aptos Display" panose="020B0004020202020204" pitchFamily="34" charset="0"/>
                <a:ea typeface="Aptos" panose="020B0004020202020204" pitchFamily="34" charset="0"/>
                <a:cs typeface="Times New Roman" panose="02020603050405020304" pitchFamily="18" charset="0"/>
              </a:rPr>
              <a:t>Modelos flexibles y personalizados:		</a:t>
            </a:r>
            <a:r>
              <a:rPr lang="es-MX" sz="1400" kern="100" dirty="0">
                <a:effectLst/>
                <a:latin typeface="Aptos Display" panose="020B0004020202020204" pitchFamily="34" charset="0"/>
                <a:ea typeface="Aptos" panose="020B0004020202020204" pitchFamily="34" charset="0"/>
                <a:cs typeface="Times New Roman" panose="02020603050405020304" pitchFamily="18" charset="0"/>
              </a:rPr>
              <a:t>Este enfoque ofrece mayor flexibilidad y variedad, permitiendo a los miembros usar sus 							puntos  o créditos para ofrecer versatilidad. </a:t>
            </a:r>
            <a:endParaRPr lang="en-US" sz="1400" kern="100" dirty="0">
              <a:effectLst/>
              <a:latin typeface="Aptos Display" panose="020B0004020202020204" pitchFamily="34" charset="0"/>
              <a:ea typeface="Aptos" panose="020B0004020202020204" pitchFamily="34" charset="0"/>
              <a:cs typeface="Times New Roman" panose="02020603050405020304" pitchFamily="18" charset="0"/>
            </a:endParaRPr>
          </a:p>
          <a:p>
            <a:pPr marL="342900" marR="0" lvl="0" indent="-342900">
              <a:lnSpc>
                <a:spcPct val="115000"/>
              </a:lnSpc>
              <a:spcAft>
                <a:spcPts val="800"/>
              </a:spcAft>
              <a:buSzPts val="1000"/>
              <a:buFont typeface="Symbol" panose="05050102010706020507" pitchFamily="18" charset="2"/>
              <a:buChar char=""/>
              <a:tabLst>
                <a:tab pos="457200" algn="l"/>
              </a:tabLst>
            </a:pPr>
            <a:r>
              <a:rPr lang="es-MX" sz="1400" b="1" kern="100" dirty="0">
                <a:effectLst/>
                <a:latin typeface="Aptos Display" panose="020B0004020202020204" pitchFamily="34" charset="0"/>
                <a:ea typeface="Aptos" panose="020B0004020202020204" pitchFamily="34" charset="0"/>
                <a:cs typeface="Times New Roman" panose="02020603050405020304" pitchFamily="18" charset="0"/>
              </a:rPr>
              <a:t>Alianzas estratégicas:</a:t>
            </a:r>
            <a:r>
              <a:rPr lang="es-MX" sz="1400" kern="100" dirty="0">
                <a:effectLst/>
                <a:latin typeface="Aptos Display" panose="020B0004020202020204" pitchFamily="34" charset="0"/>
                <a:ea typeface="Aptos" panose="020B0004020202020204" pitchFamily="34" charset="0"/>
                <a:cs typeface="Times New Roman" panose="02020603050405020304" pitchFamily="18" charset="0"/>
              </a:rPr>
              <a:t> 			Asociaciones con redes de intercambio internacionales que permiten a los clubes ofrecer 						una mayor variedad de destinos, lo que añade valor a la membresía.</a:t>
            </a:r>
          </a:p>
          <a:p>
            <a:pPr marL="342900" marR="0" lvl="0" indent="-342900">
              <a:lnSpc>
                <a:spcPct val="115000"/>
              </a:lnSpc>
              <a:spcAft>
                <a:spcPts val="800"/>
              </a:spcAft>
              <a:buSzPts val="1000"/>
              <a:buFont typeface="Symbol" panose="05050102010706020507" pitchFamily="18" charset="2"/>
              <a:buChar char=""/>
              <a:tabLst>
                <a:tab pos="457200" algn="l"/>
              </a:tabLst>
            </a:pPr>
            <a:r>
              <a:rPr lang="es-MX" sz="1400" b="1" kern="100" dirty="0">
                <a:latin typeface="Aptos Display" panose="020B0004020202020204" pitchFamily="34" charset="0"/>
                <a:ea typeface="Aptos" panose="020B0004020202020204" pitchFamily="34" charset="0"/>
                <a:cs typeface="Times New Roman" panose="02020603050405020304" pitchFamily="18" charset="0"/>
              </a:rPr>
              <a:t>Alta ocupación y rentabilidad:	</a:t>
            </a:r>
            <a:r>
              <a:rPr lang="es-MX" sz="1400" kern="100" dirty="0">
                <a:latin typeface="Aptos Display" panose="020B0004020202020204" pitchFamily="34" charset="0"/>
                <a:ea typeface="Aptos" panose="020B0004020202020204" pitchFamily="34" charset="0"/>
                <a:cs typeface="Times New Roman" panose="02020603050405020304" pitchFamily="18" charset="0"/>
              </a:rPr>
              <a:t>		Desarrollos de tiempo compartido y Clubes Vacacionales tienen ocupaciones promedio 							altas por encima de la hotelería tradicional , esto lo convierte en una opción mas rentable.</a:t>
            </a:r>
            <a:endParaRPr lang="en-US" sz="1400" kern="100" dirty="0">
              <a:effectLst/>
              <a:latin typeface="Aptos Display" panose="020B0004020202020204" pitchFamily="34" charset="0"/>
              <a:ea typeface="Aptos" panose="020B0004020202020204" pitchFamily="34" charset="0"/>
              <a:cs typeface="Times New Roman" panose="02020603050405020304" pitchFamily="18" charset="0"/>
            </a:endParaRPr>
          </a:p>
          <a:p>
            <a:pPr marL="342900" marR="0" lvl="0" indent="-342900">
              <a:lnSpc>
                <a:spcPct val="115000"/>
              </a:lnSpc>
              <a:spcAft>
                <a:spcPts val="800"/>
              </a:spcAft>
              <a:buSzPts val="1000"/>
              <a:buFont typeface="Symbol" panose="05050102010706020507" pitchFamily="18" charset="2"/>
              <a:buChar char=""/>
              <a:tabLst>
                <a:tab pos="457200" algn="l"/>
              </a:tabLst>
            </a:pPr>
            <a:r>
              <a:rPr lang="es-MX" sz="1400" b="1" kern="100" dirty="0">
                <a:effectLst/>
                <a:latin typeface="Aptos Display" panose="020B0004020202020204" pitchFamily="34" charset="0"/>
                <a:ea typeface="Aptos" panose="020B0004020202020204" pitchFamily="34" charset="0"/>
                <a:cs typeface="Times New Roman" panose="02020603050405020304" pitchFamily="18" charset="0"/>
              </a:rPr>
              <a:t>Bienestar y experiencias:</a:t>
            </a:r>
            <a:r>
              <a:rPr lang="es-MX" sz="1400" kern="100" dirty="0">
                <a:effectLst/>
                <a:latin typeface="Aptos Display" panose="020B0004020202020204" pitchFamily="34" charset="0"/>
                <a:ea typeface="Aptos" panose="020B0004020202020204" pitchFamily="34" charset="0"/>
                <a:cs typeface="Times New Roman" panose="02020603050405020304" pitchFamily="18" charset="0"/>
              </a:rPr>
              <a:t> 			Desarrollar paquetes de viajes con un enfoque en el bienestar y 	experiencias auténticas y 						personalizadas. </a:t>
            </a:r>
          </a:p>
          <a:p>
            <a:pPr marL="342900" indent="-342900">
              <a:lnSpc>
                <a:spcPct val="115000"/>
              </a:lnSpc>
              <a:spcAft>
                <a:spcPts val="800"/>
              </a:spcAft>
              <a:buSzPts val="1000"/>
              <a:buFont typeface="Symbol" panose="05050102010706020507" pitchFamily="18" charset="2"/>
              <a:buChar char=""/>
              <a:tabLst>
                <a:tab pos="457200" algn="l"/>
              </a:tabLst>
            </a:pPr>
            <a:r>
              <a:rPr lang="en-US" sz="1400" b="1" kern="100" dirty="0" err="1">
                <a:latin typeface="Aptos Display" panose="020B0004020202020204" pitchFamily="34" charset="0"/>
                <a:cs typeface="Times New Roman" panose="02020603050405020304" pitchFamily="18" charset="0"/>
              </a:rPr>
              <a:t>Profesionalización</a:t>
            </a:r>
            <a:r>
              <a:rPr lang="en-US" sz="1400" b="1" kern="100" dirty="0">
                <a:latin typeface="Aptos Display" panose="020B0004020202020204" pitchFamily="34" charset="0"/>
                <a:cs typeface="Times New Roman" panose="02020603050405020304" pitchFamily="18" charset="0"/>
              </a:rPr>
              <a:t> del </a:t>
            </a:r>
            <a:r>
              <a:rPr lang="en-US" sz="1400" b="1" kern="100" dirty="0" err="1">
                <a:latin typeface="Aptos Display" panose="020B0004020202020204" pitchFamily="34" charset="0"/>
                <a:cs typeface="Times New Roman" panose="02020603050405020304" pitchFamily="18" charset="0"/>
              </a:rPr>
              <a:t>talento</a:t>
            </a:r>
            <a:r>
              <a:rPr lang="en-US" sz="1400" b="1" kern="100" dirty="0">
                <a:latin typeface="Aptos Display" panose="020B0004020202020204" pitchFamily="34" charset="0"/>
                <a:cs typeface="Times New Roman" panose="02020603050405020304" pitchFamily="18" charset="0"/>
              </a:rPr>
              <a:t> </a:t>
            </a:r>
            <a:r>
              <a:rPr lang="en-US" sz="1400" b="1" kern="100" dirty="0" err="1">
                <a:latin typeface="Aptos Display" panose="020B0004020202020204" pitchFamily="34" charset="0"/>
                <a:cs typeface="Times New Roman" panose="02020603050405020304" pitchFamily="18" charset="0"/>
              </a:rPr>
              <a:t>humano</a:t>
            </a:r>
            <a:r>
              <a:rPr lang="en-US" sz="1400" b="1" kern="100" dirty="0">
                <a:latin typeface="Aptos Display" panose="020B0004020202020204" pitchFamily="34" charset="0"/>
                <a:cs typeface="Times New Roman" panose="02020603050405020304" pitchFamily="18" charset="0"/>
              </a:rPr>
              <a:t>:		</a:t>
            </a:r>
            <a:r>
              <a:rPr lang="en-US" sz="1400" kern="100" dirty="0">
                <a:latin typeface="Aptos Display" panose="020B0004020202020204" pitchFamily="34" charset="0"/>
                <a:cs typeface="Times New Roman" panose="02020603050405020304" pitchFamily="18" charset="0"/>
              </a:rPr>
              <a:t>L</a:t>
            </a:r>
            <a:r>
              <a:rPr lang="es-MX" sz="1400" kern="100" dirty="0">
                <a:latin typeface="Aptos Display" panose="020B0004020202020204" pitchFamily="34" charset="0"/>
                <a:cs typeface="Times New Roman" panose="02020603050405020304" pitchFamily="18" charset="0"/>
              </a:rPr>
              <a:t>as empresas líderes ya están adoptando prácticas concretas de formación y desarrollo 							sobre el factor humano que son claves para su éxito.</a:t>
            </a:r>
            <a:endParaRPr lang="en-US" sz="1400" kern="100" dirty="0">
              <a:latin typeface="Aptos Display" panose="020B0004020202020204" pitchFamily="34" charset="0"/>
              <a:cs typeface="Times New Roman" panose="02020603050405020304" pitchFamily="18" charset="0"/>
            </a:endParaRPr>
          </a:p>
          <a:p>
            <a:pPr marL="342900" marR="0" lvl="0" indent="-342900">
              <a:lnSpc>
                <a:spcPct val="115000"/>
              </a:lnSpc>
              <a:spcAft>
                <a:spcPts val="800"/>
              </a:spcAft>
              <a:buSzPts val="1000"/>
              <a:buFont typeface="Symbol" panose="05050102010706020507" pitchFamily="18" charset="2"/>
              <a:buChar char=""/>
              <a:tabLst>
                <a:tab pos="457200" algn="l"/>
              </a:tabLst>
            </a:pPr>
            <a:endParaRPr lang="en-US" sz="1400" kern="100" dirty="0">
              <a:effectLst/>
              <a:latin typeface="Aptos Display" panose="020B000402020202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37444394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EF9125-1BBD-304A-B2A2-FD88933D0B52}"/>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E60D18D3-739F-3928-FC0B-B9B65F8C6285}"/>
              </a:ext>
            </a:extLst>
          </p:cNvPr>
          <p:cNvSpPr txBox="1"/>
          <p:nvPr/>
        </p:nvSpPr>
        <p:spPr>
          <a:xfrm>
            <a:off x="481101" y="2053463"/>
            <a:ext cx="11288404" cy="369332"/>
          </a:xfrm>
          <a:prstGeom prst="rect">
            <a:avLst/>
          </a:prstGeom>
          <a:noFill/>
        </p:spPr>
        <p:txBody>
          <a:bodyPr wrap="square">
            <a:spAutoFit/>
          </a:bodyPr>
          <a:lstStyle/>
          <a:p>
            <a:pPr algn="l">
              <a:buFont typeface="+mj-lt"/>
              <a:buAutoNum type="arabicPeriod"/>
            </a:pPr>
            <a:endParaRPr lang="es-MX" b="0" i="0" dirty="0">
              <a:solidFill>
                <a:srgbClr val="111111"/>
              </a:solidFill>
              <a:effectLst/>
              <a:highlight>
                <a:srgbClr val="F7F7F7"/>
              </a:highlight>
              <a:latin typeface="-apple-system"/>
            </a:endParaRPr>
          </a:p>
        </p:txBody>
      </p:sp>
      <p:sp>
        <p:nvSpPr>
          <p:cNvPr id="3" name="TextBox 2">
            <a:extLst>
              <a:ext uri="{FF2B5EF4-FFF2-40B4-BE49-F238E27FC236}">
                <a16:creationId xmlns:a16="http://schemas.microsoft.com/office/drawing/2014/main" id="{D05F1B52-A672-E64A-7804-0D519F416961}"/>
              </a:ext>
            </a:extLst>
          </p:cNvPr>
          <p:cNvSpPr txBox="1"/>
          <p:nvPr/>
        </p:nvSpPr>
        <p:spPr>
          <a:xfrm>
            <a:off x="6362366" y="2053463"/>
            <a:ext cx="5079924" cy="3539687"/>
          </a:xfrm>
          <a:prstGeom prst="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wrap="square">
            <a:spAutoFit/>
          </a:bodyPr>
          <a:lstStyle/>
          <a:p>
            <a:r>
              <a:rPr lang="en-US" sz="1400" b="1" dirty="0" err="1">
                <a:solidFill>
                  <a:schemeClr val="tx1"/>
                </a:solidFill>
                <a:latin typeface="Aptos Display" panose="020B0004020202020204" pitchFamily="34" charset="0"/>
              </a:rPr>
              <a:t>Oportunidades</a:t>
            </a:r>
            <a:endParaRPr lang="en-US" sz="1400" b="1" dirty="0">
              <a:solidFill>
                <a:schemeClr val="tx1"/>
              </a:solidFill>
              <a:latin typeface="Aptos Display" panose="020B0004020202020204" pitchFamily="34" charset="0"/>
            </a:endParaRPr>
          </a:p>
          <a:p>
            <a:endParaRPr lang="en-US" sz="1400" b="1" dirty="0">
              <a:solidFill>
                <a:schemeClr val="tx1"/>
              </a:solidFill>
              <a:latin typeface="Aptos Display" panose="020B0004020202020204" pitchFamily="34" charset="0"/>
            </a:endParaRPr>
          </a:p>
          <a:p>
            <a:endParaRPr lang="en-US" sz="1400" b="1" dirty="0">
              <a:solidFill>
                <a:schemeClr val="tx1"/>
              </a:solidFill>
              <a:latin typeface="Aptos Display" panose="020B0004020202020204" pitchFamily="34" charset="0"/>
            </a:endParaRPr>
          </a:p>
          <a:p>
            <a:r>
              <a:rPr lang="es-MX" sz="1400" b="1" kern="100" dirty="0">
                <a:solidFill>
                  <a:schemeClr val="tx1"/>
                </a:solidFill>
                <a:latin typeface="Aptos Display" panose="020B0004020202020204" pitchFamily="34" charset="0"/>
                <a:ea typeface="Aptos" panose="020B0004020202020204" pitchFamily="34" charset="0"/>
                <a:cs typeface="Times New Roman" panose="02020603050405020304" pitchFamily="18" charset="0"/>
              </a:rPr>
              <a:t>Modelos flexibles y personalizados:	</a:t>
            </a:r>
            <a:r>
              <a:rPr lang="es-MX" sz="1400" kern="100" dirty="0">
                <a:solidFill>
                  <a:schemeClr val="tx1"/>
                </a:solidFill>
                <a:latin typeface="Aptos Display" panose="020B0004020202020204" pitchFamily="34" charset="0"/>
                <a:ea typeface="Aptos" panose="020B0004020202020204" pitchFamily="34" charset="0"/>
                <a:cs typeface="Times New Roman" panose="02020603050405020304" pitchFamily="18" charset="0"/>
              </a:rPr>
              <a:t>Mayor satisfacción, Incremento de fidelización, adaptabilidad, vacaciones a la carta.</a:t>
            </a:r>
            <a:endParaRPr lang="en-US" sz="1400" kern="100" dirty="0">
              <a:solidFill>
                <a:schemeClr val="tx1"/>
              </a:solidFill>
              <a:latin typeface="Aptos Display" panose="020B0004020202020204" pitchFamily="34" charset="0"/>
              <a:ea typeface="Aptos" panose="020B0004020202020204" pitchFamily="34" charset="0"/>
              <a:cs typeface="Times New Roman" panose="02020603050405020304" pitchFamily="18" charset="0"/>
            </a:endParaRPr>
          </a:p>
          <a:p>
            <a:pPr lvl="0"/>
            <a:endParaRPr lang="en-US" sz="1400" dirty="0">
              <a:solidFill>
                <a:schemeClr val="tx1"/>
              </a:solidFill>
              <a:latin typeface="Aptos Display" panose="020B0004020202020204" pitchFamily="34" charset="0"/>
            </a:endParaRPr>
          </a:p>
          <a:p>
            <a:pPr lvl="0"/>
            <a:r>
              <a:rPr lang="es-MX" sz="1400" b="1" dirty="0">
                <a:solidFill>
                  <a:schemeClr val="tx1"/>
                </a:solidFill>
                <a:latin typeface="Aptos Display" panose="020B0004020202020204" pitchFamily="34" charset="0"/>
              </a:rPr>
              <a:t>Destinos emergentes:</a:t>
            </a:r>
            <a:r>
              <a:rPr lang="es-MX" sz="1400" dirty="0">
                <a:solidFill>
                  <a:schemeClr val="tx1"/>
                </a:solidFill>
                <a:latin typeface="Aptos Display" panose="020B0004020202020204" pitchFamily="34" charset="0"/>
              </a:rPr>
              <a:t> Lugares con belleza natural y cultural que ofrecen oportunidades para desarrollos más exclusivos y auténticos.</a:t>
            </a:r>
          </a:p>
          <a:p>
            <a:pPr lvl="0"/>
            <a:endParaRPr lang="en-US" sz="1400" dirty="0">
              <a:solidFill>
                <a:schemeClr val="tx1"/>
              </a:solidFill>
              <a:latin typeface="Aptos Display" panose="020B0004020202020204" pitchFamily="34" charset="0"/>
            </a:endParaRPr>
          </a:p>
          <a:p>
            <a:pPr lvl="0"/>
            <a:r>
              <a:rPr lang="es-MX" sz="1400" b="1" dirty="0">
                <a:solidFill>
                  <a:schemeClr val="tx1"/>
                </a:solidFill>
                <a:latin typeface="Aptos Display" panose="020B0004020202020204" pitchFamily="34" charset="0"/>
              </a:rPr>
              <a:t>Turismo cultural y de lujo:</a:t>
            </a:r>
            <a:r>
              <a:rPr lang="es-MX" sz="1400" dirty="0">
                <a:solidFill>
                  <a:schemeClr val="tx1"/>
                </a:solidFill>
                <a:latin typeface="Aptos Display" panose="020B0004020202020204" pitchFamily="34" charset="0"/>
              </a:rPr>
              <a:t> Las ciudades coloniales o la promoción del turismo de golf y compras en grandes ciudades, atraen a viajeros con alto poder adquisitivo. </a:t>
            </a:r>
            <a:endParaRPr lang="en-US" sz="1400" dirty="0">
              <a:solidFill>
                <a:schemeClr val="tx1"/>
              </a:solidFill>
              <a:latin typeface="Aptos Display" panose="020B0004020202020204" pitchFamily="34" charset="0"/>
            </a:endParaRPr>
          </a:p>
          <a:p>
            <a:pPr lvl="0"/>
            <a:endParaRPr lang="en-US" sz="1400" dirty="0">
              <a:solidFill>
                <a:schemeClr val="tx1"/>
              </a:solidFill>
              <a:latin typeface="Aptos Display" panose="020B0004020202020204" pitchFamily="34" charset="0"/>
            </a:endParaRPr>
          </a:p>
          <a:p>
            <a:pPr lvl="0"/>
            <a:endParaRPr lang="en-US" sz="1400" dirty="0">
              <a:solidFill>
                <a:schemeClr val="tx1"/>
              </a:solidFill>
              <a:latin typeface="Aptos Display" panose="020B0004020202020204" pitchFamily="34" charset="0"/>
            </a:endParaRPr>
          </a:p>
          <a:p>
            <a:pPr marR="0" lvl="1">
              <a:lnSpc>
                <a:spcPts val="1800"/>
              </a:lnSpc>
              <a:spcAft>
                <a:spcPts val="1200"/>
              </a:spcAft>
              <a:buSzPts val="1000"/>
              <a:tabLst>
                <a:tab pos="914400" algn="l"/>
              </a:tabLst>
            </a:pPr>
            <a:endParaRPr lang="es-MX" sz="1200" b="1" kern="0" dirty="0">
              <a:solidFill>
                <a:schemeClr val="tx1"/>
              </a:solidFill>
              <a:effectLst/>
              <a:latin typeface="Aptos Display" panose="020B0004020202020204" pitchFamily="34" charset="0"/>
              <a:ea typeface="Times New Roman" panose="02020603050405020304" pitchFamily="18" charset="0"/>
              <a:cs typeface="Times New Roman" panose="02020603050405020304" pitchFamily="18" charset="0"/>
            </a:endParaRPr>
          </a:p>
        </p:txBody>
      </p:sp>
      <p:sp>
        <p:nvSpPr>
          <p:cNvPr id="5" name="TextBox 4">
            <a:extLst>
              <a:ext uri="{FF2B5EF4-FFF2-40B4-BE49-F238E27FC236}">
                <a16:creationId xmlns:a16="http://schemas.microsoft.com/office/drawing/2014/main" id="{8C230B31-70DB-22EA-9402-0725F8EAA187}"/>
              </a:ext>
            </a:extLst>
          </p:cNvPr>
          <p:cNvSpPr txBox="1"/>
          <p:nvPr/>
        </p:nvSpPr>
        <p:spPr>
          <a:xfrm>
            <a:off x="749710" y="2053463"/>
            <a:ext cx="5049058" cy="3690049"/>
          </a:xfrm>
          <a:prstGeom prst="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wrap="square">
            <a:spAutoFit/>
          </a:bodyPr>
          <a:lstStyle/>
          <a:p>
            <a:r>
              <a:rPr lang="en-US" sz="1400" b="1" dirty="0">
                <a:solidFill>
                  <a:schemeClr val="tx1"/>
                </a:solidFill>
                <a:latin typeface="Aptos Display" panose="020B0004020202020204" pitchFamily="34" charset="0"/>
              </a:rPr>
              <a:t>Retos</a:t>
            </a:r>
          </a:p>
          <a:p>
            <a:endParaRPr lang="en-US" sz="1400" dirty="0">
              <a:solidFill>
                <a:schemeClr val="tx1"/>
              </a:solidFill>
              <a:latin typeface="Aptos Display" panose="020B0004020202020204" pitchFamily="34" charset="0"/>
            </a:endParaRPr>
          </a:p>
          <a:p>
            <a:pPr lvl="0"/>
            <a:endParaRPr lang="en-US" sz="1400" dirty="0">
              <a:solidFill>
                <a:schemeClr val="tx1"/>
              </a:solidFill>
              <a:latin typeface="Aptos Display" panose="020B0004020202020204" pitchFamily="34" charset="0"/>
            </a:endParaRPr>
          </a:p>
          <a:p>
            <a:pPr lvl="0"/>
            <a:r>
              <a:rPr lang="es-MX" sz="1400" b="1" dirty="0">
                <a:solidFill>
                  <a:schemeClr val="tx1"/>
                </a:solidFill>
                <a:latin typeface="Aptos Display" panose="020B0004020202020204" pitchFamily="34" charset="0"/>
              </a:rPr>
              <a:t>Percepción de inseguridad:</a:t>
            </a:r>
            <a:r>
              <a:rPr lang="es-MX" sz="1400" dirty="0">
                <a:solidFill>
                  <a:schemeClr val="tx1"/>
                </a:solidFill>
                <a:latin typeface="Aptos Display" panose="020B0004020202020204" pitchFamily="34" charset="0"/>
              </a:rPr>
              <a:t> Algunos destinos mexicanos enfrentan retos por la percepción de inseguridad, lo que puede afectar la decisión de compra de ciertos mercados internacionales.</a:t>
            </a:r>
          </a:p>
          <a:p>
            <a:pPr lvl="0"/>
            <a:endParaRPr lang="en-US" sz="1400" dirty="0">
              <a:solidFill>
                <a:schemeClr val="tx1"/>
              </a:solidFill>
              <a:latin typeface="Aptos Display" panose="020B0004020202020204" pitchFamily="34" charset="0"/>
            </a:endParaRPr>
          </a:p>
          <a:p>
            <a:pPr lvl="0"/>
            <a:r>
              <a:rPr lang="es-MX" sz="1400" b="1" dirty="0">
                <a:solidFill>
                  <a:schemeClr val="tx1"/>
                </a:solidFill>
                <a:latin typeface="Aptos Display" panose="020B0004020202020204" pitchFamily="34" charset="0"/>
              </a:rPr>
              <a:t>Diversificación y promoción:</a:t>
            </a:r>
            <a:r>
              <a:rPr lang="es-MX" sz="1400" dirty="0">
                <a:solidFill>
                  <a:schemeClr val="tx1"/>
                </a:solidFill>
                <a:latin typeface="Aptos Display" panose="020B0004020202020204" pitchFamily="34" charset="0"/>
              </a:rPr>
              <a:t> La promoción turística debe diversificar su enfoque para incluir destinos menos conocidos y atraer a una base de clientes más amplia. </a:t>
            </a:r>
            <a:endParaRPr lang="en-US" sz="1400" dirty="0">
              <a:solidFill>
                <a:schemeClr val="tx1"/>
              </a:solidFill>
              <a:latin typeface="Aptos Display" panose="020B0004020202020204" pitchFamily="34" charset="0"/>
            </a:endParaRPr>
          </a:p>
          <a:p>
            <a:pPr marR="0" lvl="0">
              <a:lnSpc>
                <a:spcPts val="1800"/>
              </a:lnSpc>
              <a:spcAft>
                <a:spcPts val="1200"/>
              </a:spcAft>
              <a:buSzPts val="1000"/>
              <a:tabLst>
                <a:tab pos="457200" algn="l"/>
              </a:tabLst>
            </a:pPr>
            <a:endParaRPr lang="es-MX" sz="1100" b="1" kern="100" dirty="0">
              <a:solidFill>
                <a:schemeClr val="tx1"/>
              </a:solidFill>
              <a:latin typeface="Aptos Display" panose="020B0004020202020204" pitchFamily="34" charset="0"/>
              <a:ea typeface="Aptos" panose="020B0004020202020204" pitchFamily="34" charset="0"/>
              <a:cs typeface="Times New Roman" panose="02020603050405020304" pitchFamily="18" charset="0"/>
            </a:endParaRPr>
          </a:p>
          <a:p>
            <a:pPr>
              <a:lnSpc>
                <a:spcPts val="1800"/>
              </a:lnSpc>
              <a:spcAft>
                <a:spcPts val="1200"/>
              </a:spcAft>
              <a:buSzPts val="1000"/>
              <a:tabLst>
                <a:tab pos="457200" algn="l"/>
              </a:tabLst>
            </a:pPr>
            <a:r>
              <a:rPr lang="es-MX" sz="1400" b="1" dirty="0">
                <a:solidFill>
                  <a:schemeClr val="tx1"/>
                </a:solidFill>
                <a:latin typeface="Aptos Display" panose="020B0004020202020204" pitchFamily="34" charset="0"/>
              </a:rPr>
              <a:t>Sostenibilidad y medioambiente: </a:t>
            </a:r>
            <a:r>
              <a:rPr lang="es-MX" sz="1400" dirty="0">
                <a:solidFill>
                  <a:schemeClr val="tx1"/>
                </a:solidFill>
                <a:latin typeface="Aptos Display" panose="020B0004020202020204" pitchFamily="34" charset="0"/>
              </a:rPr>
              <a:t>El desarrollo debe gestionar el impacto ambiental para evitar la sobreexplotación de los recursos naturales.</a:t>
            </a:r>
          </a:p>
          <a:p>
            <a:pPr marR="0" lvl="0">
              <a:lnSpc>
                <a:spcPts val="1800"/>
              </a:lnSpc>
              <a:spcAft>
                <a:spcPts val="1200"/>
              </a:spcAft>
              <a:buSzPts val="1000"/>
              <a:tabLst>
                <a:tab pos="457200" algn="l"/>
              </a:tabLst>
            </a:pPr>
            <a:endParaRPr lang="es-MX" sz="1100" b="1" kern="100" dirty="0">
              <a:solidFill>
                <a:schemeClr val="tx1"/>
              </a:solidFill>
              <a:latin typeface="Aptos Display" panose="020B0004020202020204" pitchFamily="34" charset="0"/>
              <a:ea typeface="Aptos" panose="020B0004020202020204" pitchFamily="34" charset="0"/>
              <a:cs typeface="Times New Roman" panose="02020603050405020304" pitchFamily="18" charset="0"/>
            </a:endParaRPr>
          </a:p>
        </p:txBody>
      </p:sp>
      <p:sp>
        <p:nvSpPr>
          <p:cNvPr id="7" name="Marcador de texto 1">
            <a:extLst>
              <a:ext uri="{FF2B5EF4-FFF2-40B4-BE49-F238E27FC236}">
                <a16:creationId xmlns:a16="http://schemas.microsoft.com/office/drawing/2014/main" id="{930C5329-54A7-4AA4-CB7E-4A7618EB552F}"/>
              </a:ext>
            </a:extLst>
          </p:cNvPr>
          <p:cNvSpPr txBox="1">
            <a:spLocks/>
          </p:cNvSpPr>
          <p:nvPr/>
        </p:nvSpPr>
        <p:spPr>
          <a:xfrm>
            <a:off x="294745" y="413444"/>
            <a:ext cx="5701953" cy="99332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400" b="1" kern="1200">
                <a:solidFill>
                  <a:srgbClr val="014B7F"/>
                </a:solidFill>
                <a:latin typeface="Poppins" panose="00000500000000000000" pitchFamily="2" charset="0"/>
                <a:ea typeface="+mn-ea"/>
                <a:cs typeface="Poppins" panose="000005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MX" sz="2400" dirty="0"/>
              <a:t>Retos y Oportunidades</a:t>
            </a:r>
          </a:p>
        </p:txBody>
      </p:sp>
      <p:sp>
        <p:nvSpPr>
          <p:cNvPr id="9" name="TextBox 8">
            <a:extLst>
              <a:ext uri="{FF2B5EF4-FFF2-40B4-BE49-F238E27FC236}">
                <a16:creationId xmlns:a16="http://schemas.microsoft.com/office/drawing/2014/main" id="{25739B1A-E5AB-B53A-ED83-BA9881CA1709}"/>
              </a:ext>
            </a:extLst>
          </p:cNvPr>
          <p:cNvSpPr txBox="1"/>
          <p:nvPr/>
        </p:nvSpPr>
        <p:spPr>
          <a:xfrm>
            <a:off x="741759" y="1334940"/>
            <a:ext cx="6144768" cy="395173"/>
          </a:xfrm>
          <a:prstGeom prst="rect">
            <a:avLst/>
          </a:prstGeom>
          <a:noFill/>
        </p:spPr>
        <p:txBody>
          <a:bodyPr wrap="square">
            <a:spAutoFit/>
          </a:bodyPr>
          <a:lstStyle/>
          <a:p>
            <a:pPr marL="0" marR="0">
              <a:lnSpc>
                <a:spcPct val="115000"/>
              </a:lnSpc>
              <a:spcAft>
                <a:spcPts val="800"/>
              </a:spcAft>
              <a:buNone/>
            </a:pPr>
            <a:r>
              <a:rPr lang="en-US" sz="1800" b="1" kern="100" dirty="0">
                <a:effectLst/>
                <a:latin typeface="Aptos Display" panose="020B0004020202020204" pitchFamily="34" charset="0"/>
                <a:ea typeface="Aptos" panose="020B0004020202020204" pitchFamily="34" charset="0"/>
                <a:cs typeface="Times New Roman" panose="02020603050405020304" pitchFamily="18" charset="0"/>
              </a:rPr>
              <a:t>En México</a:t>
            </a:r>
            <a:endParaRPr lang="en-US" sz="1800" kern="100" dirty="0">
              <a:effectLst/>
              <a:latin typeface="Aptos Display" panose="020B000402020202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16888238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EBCEC8-00D6-ABC3-AEE3-E4C9D59758EF}"/>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D654CE26-83F6-4923-D485-6208E8044347}"/>
              </a:ext>
            </a:extLst>
          </p:cNvPr>
          <p:cNvSpPr txBox="1"/>
          <p:nvPr/>
        </p:nvSpPr>
        <p:spPr>
          <a:xfrm>
            <a:off x="481101" y="2053463"/>
            <a:ext cx="11288404" cy="369332"/>
          </a:xfrm>
          <a:prstGeom prst="rect">
            <a:avLst/>
          </a:prstGeom>
          <a:noFill/>
        </p:spPr>
        <p:txBody>
          <a:bodyPr wrap="square">
            <a:spAutoFit/>
          </a:bodyPr>
          <a:lstStyle/>
          <a:p>
            <a:pPr algn="l">
              <a:buFont typeface="+mj-lt"/>
              <a:buAutoNum type="arabicPeriod"/>
            </a:pPr>
            <a:endParaRPr lang="es-MX" b="0" i="0" dirty="0">
              <a:solidFill>
                <a:srgbClr val="111111"/>
              </a:solidFill>
              <a:effectLst/>
              <a:highlight>
                <a:srgbClr val="F7F7F7"/>
              </a:highlight>
              <a:latin typeface="-apple-system"/>
            </a:endParaRPr>
          </a:p>
        </p:txBody>
      </p:sp>
      <p:sp>
        <p:nvSpPr>
          <p:cNvPr id="3" name="TextBox 2">
            <a:extLst>
              <a:ext uri="{FF2B5EF4-FFF2-40B4-BE49-F238E27FC236}">
                <a16:creationId xmlns:a16="http://schemas.microsoft.com/office/drawing/2014/main" id="{C58940EA-8666-8A02-52C8-B8301479B9F9}"/>
              </a:ext>
            </a:extLst>
          </p:cNvPr>
          <p:cNvSpPr txBox="1"/>
          <p:nvPr/>
        </p:nvSpPr>
        <p:spPr>
          <a:xfrm>
            <a:off x="6362366" y="1755769"/>
            <a:ext cx="5079924" cy="3754874"/>
          </a:xfrm>
          <a:prstGeom prst="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wrap="square">
            <a:spAutoFit/>
          </a:bodyPr>
          <a:lstStyle/>
          <a:p>
            <a:r>
              <a:rPr lang="en-US" sz="1400" b="1" dirty="0" err="1">
                <a:solidFill>
                  <a:schemeClr val="tx1"/>
                </a:solidFill>
                <a:latin typeface="Aptos Display" panose="020B0004020202020204" pitchFamily="34" charset="0"/>
              </a:rPr>
              <a:t>Oportunidades</a:t>
            </a:r>
            <a:endParaRPr lang="en-US" sz="1400" b="1" dirty="0">
              <a:solidFill>
                <a:schemeClr val="tx1"/>
              </a:solidFill>
              <a:latin typeface="Aptos Display" panose="020B0004020202020204" pitchFamily="34" charset="0"/>
            </a:endParaRPr>
          </a:p>
          <a:p>
            <a:endParaRPr lang="en-US" sz="1400" dirty="0">
              <a:solidFill>
                <a:schemeClr val="tx1"/>
              </a:solidFill>
              <a:latin typeface="Aptos Display" panose="020B0004020202020204" pitchFamily="34" charset="0"/>
            </a:endParaRPr>
          </a:p>
          <a:p>
            <a:pPr lvl="0" algn="just"/>
            <a:r>
              <a:rPr lang="es-MX" sz="1400" b="1" dirty="0">
                <a:solidFill>
                  <a:schemeClr val="tx1"/>
                </a:solidFill>
                <a:latin typeface="Aptos Display" panose="020B0004020202020204" pitchFamily="34" charset="0"/>
              </a:rPr>
              <a:t>Mercados emergentes:</a:t>
            </a:r>
            <a:r>
              <a:rPr lang="es-MX" sz="1400" dirty="0">
                <a:solidFill>
                  <a:schemeClr val="tx1"/>
                </a:solidFill>
                <a:latin typeface="Aptos Display" panose="020B0004020202020204" pitchFamily="34" charset="0"/>
              </a:rPr>
              <a:t> El crecimiento del turismo en países como India, el Sudeste Asiático y Europa del Este presenta una gran oportunidad para la expansión internacional de los clubes vacacionales.</a:t>
            </a:r>
          </a:p>
          <a:p>
            <a:pPr lvl="0"/>
            <a:endParaRPr lang="en-US" sz="1400" dirty="0">
              <a:solidFill>
                <a:schemeClr val="tx1"/>
              </a:solidFill>
              <a:latin typeface="Aptos Display" panose="020B0004020202020204" pitchFamily="34" charset="0"/>
            </a:endParaRPr>
          </a:p>
          <a:p>
            <a:pPr lvl="0"/>
            <a:r>
              <a:rPr lang="es-MX" sz="1400" b="1" dirty="0">
                <a:solidFill>
                  <a:schemeClr val="tx1"/>
                </a:solidFill>
                <a:latin typeface="Aptos Display" panose="020B0004020202020204" pitchFamily="34" charset="0"/>
              </a:rPr>
              <a:t>Destinos remotos y sostenibles:</a:t>
            </a:r>
            <a:r>
              <a:rPr lang="es-MX" sz="1400" dirty="0">
                <a:solidFill>
                  <a:schemeClr val="tx1"/>
                </a:solidFill>
                <a:latin typeface="Aptos Display" panose="020B0004020202020204" pitchFamily="34" charset="0"/>
              </a:rPr>
              <a:t> La búsqueda de destinos menos populares y más auténticos abre la puerta a lugares como São Tomé y Príncipe  en </a:t>
            </a:r>
            <a:r>
              <a:rPr lang="es-MX" sz="1400" dirty="0" err="1">
                <a:solidFill>
                  <a:schemeClr val="tx1"/>
                </a:solidFill>
                <a:latin typeface="Aptos Display" panose="020B0004020202020204" pitchFamily="34" charset="0"/>
              </a:rPr>
              <a:t>Africa</a:t>
            </a:r>
            <a:r>
              <a:rPr lang="es-MX" sz="1400" dirty="0">
                <a:solidFill>
                  <a:schemeClr val="tx1"/>
                </a:solidFill>
                <a:latin typeface="Aptos Display" panose="020B0004020202020204" pitchFamily="34" charset="0"/>
              </a:rPr>
              <a:t> que ofrecen una experiencia única.</a:t>
            </a:r>
          </a:p>
          <a:p>
            <a:pPr lvl="0"/>
            <a:endParaRPr lang="en-US" sz="1400" dirty="0">
              <a:solidFill>
                <a:schemeClr val="tx1"/>
              </a:solidFill>
              <a:latin typeface="Aptos Display" panose="020B0004020202020204" pitchFamily="34" charset="0"/>
            </a:endParaRPr>
          </a:p>
          <a:p>
            <a:pPr lvl="0"/>
            <a:r>
              <a:rPr lang="es-MX" sz="1400" b="1" dirty="0">
                <a:solidFill>
                  <a:schemeClr val="tx1"/>
                </a:solidFill>
                <a:latin typeface="Aptos Display" panose="020B0004020202020204" pitchFamily="34" charset="0"/>
              </a:rPr>
              <a:t>Cruceros y experiencias temáticas:</a:t>
            </a:r>
            <a:r>
              <a:rPr lang="es-MX" sz="1400" dirty="0">
                <a:solidFill>
                  <a:schemeClr val="tx1"/>
                </a:solidFill>
                <a:latin typeface="Aptos Display" panose="020B0004020202020204" pitchFamily="34" charset="0"/>
              </a:rPr>
              <a:t> Las alianzas con líneas de cruceros y la creación de experiencias de viaje más especializadas.</a:t>
            </a:r>
          </a:p>
          <a:p>
            <a:pPr lvl="0"/>
            <a:endParaRPr lang="en-US" sz="1400" dirty="0">
              <a:solidFill>
                <a:schemeClr val="tx1"/>
              </a:solidFill>
              <a:latin typeface="Aptos Display" panose="020B0004020202020204" pitchFamily="34" charset="0"/>
            </a:endParaRPr>
          </a:p>
          <a:p>
            <a:pPr lvl="0"/>
            <a:r>
              <a:rPr lang="es-MX" sz="1400" b="1" dirty="0">
                <a:solidFill>
                  <a:schemeClr val="tx1"/>
                </a:solidFill>
                <a:latin typeface="Aptos Display" panose="020B0004020202020204" pitchFamily="34" charset="0"/>
              </a:rPr>
              <a:t>Enfoque en el bienestar:</a:t>
            </a:r>
            <a:r>
              <a:rPr lang="es-MX" sz="1400" dirty="0">
                <a:solidFill>
                  <a:schemeClr val="tx1"/>
                </a:solidFill>
                <a:latin typeface="Aptos Display" panose="020B0004020202020204" pitchFamily="34" charset="0"/>
              </a:rPr>
              <a:t> El crecimiento del turismo de salud y bienestar abre la oportunidad de desarrollar resorts que ofrezcan experiencia </a:t>
            </a:r>
            <a:r>
              <a:rPr lang="es-MX" sz="1400" dirty="0" err="1">
                <a:solidFill>
                  <a:schemeClr val="tx1"/>
                </a:solidFill>
                <a:latin typeface="Aptos Display" panose="020B0004020202020204" pitchFamily="34" charset="0"/>
              </a:rPr>
              <a:t>wellness</a:t>
            </a:r>
            <a:r>
              <a:rPr lang="es-MX" sz="1400" dirty="0">
                <a:solidFill>
                  <a:schemeClr val="tx1"/>
                </a:solidFill>
                <a:latin typeface="Aptos Display" panose="020B0004020202020204" pitchFamily="34" charset="0"/>
              </a:rPr>
              <a:t>.</a:t>
            </a:r>
            <a:endParaRPr lang="es-MX" sz="1400" b="1" kern="0" dirty="0">
              <a:solidFill>
                <a:schemeClr val="tx1"/>
              </a:solidFill>
              <a:effectLst/>
              <a:latin typeface="Aptos Display" panose="020B0004020202020204" pitchFamily="34" charset="0"/>
              <a:ea typeface="Times New Roman" panose="02020603050405020304" pitchFamily="18" charset="0"/>
              <a:cs typeface="Times New Roman" panose="02020603050405020304" pitchFamily="18" charset="0"/>
            </a:endParaRPr>
          </a:p>
        </p:txBody>
      </p:sp>
      <p:sp>
        <p:nvSpPr>
          <p:cNvPr id="5" name="TextBox 4">
            <a:extLst>
              <a:ext uri="{FF2B5EF4-FFF2-40B4-BE49-F238E27FC236}">
                <a16:creationId xmlns:a16="http://schemas.microsoft.com/office/drawing/2014/main" id="{2AD3AA5F-AD96-D91F-4D50-E1D0B207ED78}"/>
              </a:ext>
            </a:extLst>
          </p:cNvPr>
          <p:cNvSpPr txBox="1"/>
          <p:nvPr/>
        </p:nvSpPr>
        <p:spPr>
          <a:xfrm>
            <a:off x="749710" y="1755769"/>
            <a:ext cx="5049058" cy="3752566"/>
          </a:xfrm>
          <a:prstGeom prst="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algn="just"/>
            <a:r>
              <a:rPr lang="en-US" sz="1400" b="1" dirty="0">
                <a:solidFill>
                  <a:schemeClr val="tx1"/>
                </a:solidFill>
                <a:latin typeface="Aptos Display" panose="020B0004020202020204" pitchFamily="34" charset="0"/>
              </a:rPr>
              <a:t>Retos</a:t>
            </a:r>
          </a:p>
          <a:p>
            <a:pPr algn="just">
              <a:lnSpc>
                <a:spcPct val="115000"/>
              </a:lnSpc>
              <a:spcAft>
                <a:spcPts val="800"/>
              </a:spcAft>
            </a:pPr>
            <a:endParaRPr lang="en-US" sz="1400" kern="100" dirty="0">
              <a:solidFill>
                <a:schemeClr val="tx1"/>
              </a:solidFill>
              <a:latin typeface="Aptos Display" panose="020B0004020202020204" pitchFamily="34" charset="0"/>
              <a:ea typeface="Aptos" panose="020B0004020202020204" pitchFamily="34" charset="0"/>
              <a:cs typeface="Times New Roman" panose="02020603050405020304" pitchFamily="18" charset="0"/>
            </a:endParaRPr>
          </a:p>
          <a:p>
            <a:pPr marR="0" lvl="0" algn="just">
              <a:lnSpc>
                <a:spcPct val="115000"/>
              </a:lnSpc>
              <a:spcAft>
                <a:spcPts val="800"/>
              </a:spcAft>
              <a:buSzPts val="1000"/>
              <a:tabLst>
                <a:tab pos="457200" algn="l"/>
              </a:tabLst>
            </a:pPr>
            <a:r>
              <a:rPr lang="es-MX" sz="1400" b="1" kern="100" dirty="0">
                <a:solidFill>
                  <a:schemeClr val="tx1"/>
                </a:solidFill>
                <a:latin typeface="Aptos Display" panose="020B0004020202020204" pitchFamily="34" charset="0"/>
                <a:ea typeface="Aptos" panose="020B0004020202020204" pitchFamily="34" charset="0"/>
                <a:cs typeface="Times New Roman" panose="02020603050405020304" pitchFamily="18" charset="0"/>
              </a:rPr>
              <a:t>Cambios políticos y económicos:</a:t>
            </a:r>
            <a:r>
              <a:rPr lang="es-MX" sz="1400" kern="100" dirty="0">
                <a:solidFill>
                  <a:schemeClr val="tx1"/>
                </a:solidFill>
                <a:latin typeface="Aptos Display" panose="020B0004020202020204" pitchFamily="34" charset="0"/>
                <a:ea typeface="Aptos" panose="020B0004020202020204" pitchFamily="34" charset="0"/>
                <a:cs typeface="Times New Roman" panose="02020603050405020304" pitchFamily="18" charset="0"/>
              </a:rPr>
              <a:t> Eventos globales y la recesión económica pueden afectar la demanda de viajes internacionales.</a:t>
            </a:r>
            <a:endParaRPr lang="en-US" sz="1400" kern="100" dirty="0">
              <a:solidFill>
                <a:schemeClr val="tx1"/>
              </a:solidFill>
              <a:latin typeface="Aptos Display" panose="020B0004020202020204" pitchFamily="34" charset="0"/>
              <a:ea typeface="Aptos" panose="020B0004020202020204" pitchFamily="34" charset="0"/>
              <a:cs typeface="Times New Roman" panose="02020603050405020304" pitchFamily="18" charset="0"/>
            </a:endParaRPr>
          </a:p>
          <a:p>
            <a:pPr algn="just"/>
            <a:r>
              <a:rPr lang="es-ES" sz="1400" b="1" dirty="0">
                <a:solidFill>
                  <a:schemeClr val="tx1"/>
                </a:solidFill>
                <a:latin typeface="Aptos Display" panose="020B0004020202020204" pitchFamily="34" charset="0"/>
              </a:rPr>
              <a:t>Percepción negativa:</a:t>
            </a:r>
            <a:r>
              <a:rPr lang="es-ES" sz="1400" dirty="0">
                <a:solidFill>
                  <a:schemeClr val="tx1"/>
                </a:solidFill>
                <a:latin typeface="Aptos Display" panose="020B0004020202020204" pitchFamily="34" charset="0"/>
              </a:rPr>
              <a:t> Históricamente, la industria ha luchado contra una reputación asociada con la presión de ventas y contratos rígidos. Abordar este desafío requiere transparencia, modelos flexibles y comunicación honesta para generar confianza.</a:t>
            </a:r>
          </a:p>
          <a:p>
            <a:pPr algn="just"/>
            <a:endParaRPr lang="es-ES" sz="1400" dirty="0">
              <a:solidFill>
                <a:schemeClr val="tx1"/>
              </a:solidFill>
              <a:latin typeface="Aptos Display" panose="020B0004020202020204" pitchFamily="34" charset="0"/>
            </a:endParaRPr>
          </a:p>
          <a:p>
            <a:pPr marR="0" lvl="0" algn="just">
              <a:lnSpc>
                <a:spcPct val="115000"/>
              </a:lnSpc>
              <a:spcAft>
                <a:spcPts val="800"/>
              </a:spcAft>
              <a:buSzPts val="1000"/>
              <a:tabLst>
                <a:tab pos="457200" algn="l"/>
              </a:tabLst>
            </a:pPr>
            <a:r>
              <a:rPr lang="es-MX" sz="1400" b="1" kern="100" dirty="0">
                <a:solidFill>
                  <a:schemeClr val="tx1"/>
                </a:solidFill>
                <a:latin typeface="Aptos Display" panose="020B0004020202020204" pitchFamily="34" charset="0"/>
                <a:ea typeface="Aptos" panose="020B0004020202020204" pitchFamily="34" charset="0"/>
                <a:cs typeface="Times New Roman" panose="02020603050405020304" pitchFamily="18" charset="0"/>
              </a:rPr>
              <a:t>Competencia intensa:</a:t>
            </a:r>
            <a:r>
              <a:rPr lang="es-MX" sz="1400" kern="100" dirty="0">
                <a:solidFill>
                  <a:schemeClr val="tx1"/>
                </a:solidFill>
                <a:latin typeface="Aptos Display" panose="020B0004020202020204" pitchFamily="34" charset="0"/>
                <a:ea typeface="Aptos" panose="020B0004020202020204" pitchFamily="34" charset="0"/>
                <a:cs typeface="Times New Roman" panose="02020603050405020304" pitchFamily="18" charset="0"/>
              </a:rPr>
              <a:t> El mercado global está lleno de opciones, lo que exige a los clubes vacacionales diferenciarse por medio de experiencias y valor añadido. </a:t>
            </a:r>
          </a:p>
          <a:p>
            <a:pPr marR="0" lvl="0" algn="just">
              <a:lnSpc>
                <a:spcPct val="115000"/>
              </a:lnSpc>
              <a:spcAft>
                <a:spcPts val="800"/>
              </a:spcAft>
              <a:buSzPts val="1000"/>
              <a:tabLst>
                <a:tab pos="457200" algn="l"/>
              </a:tabLst>
            </a:pPr>
            <a:endParaRPr lang="en-US" sz="1400" kern="100" dirty="0">
              <a:solidFill>
                <a:schemeClr val="tx1"/>
              </a:solidFill>
              <a:latin typeface="Aptos Display" panose="020B0004020202020204" pitchFamily="34" charset="0"/>
              <a:ea typeface="Aptos" panose="020B0004020202020204" pitchFamily="34" charset="0"/>
              <a:cs typeface="Times New Roman" panose="02020603050405020304" pitchFamily="18" charset="0"/>
            </a:endParaRPr>
          </a:p>
          <a:p>
            <a:pPr marR="0" lvl="0" algn="just">
              <a:lnSpc>
                <a:spcPts val="1800"/>
              </a:lnSpc>
              <a:spcAft>
                <a:spcPts val="1200"/>
              </a:spcAft>
              <a:buSzPts val="1000"/>
              <a:tabLst>
                <a:tab pos="457200" algn="l"/>
              </a:tabLst>
            </a:pPr>
            <a:endParaRPr lang="es-MX" sz="1400" b="1" kern="100" dirty="0">
              <a:solidFill>
                <a:schemeClr val="tx1"/>
              </a:solidFill>
              <a:latin typeface="Aptos Display" panose="020B0004020202020204" pitchFamily="34" charset="0"/>
              <a:ea typeface="Aptos" panose="020B0004020202020204" pitchFamily="34" charset="0"/>
              <a:cs typeface="Times New Roman" panose="02020603050405020304" pitchFamily="18" charset="0"/>
            </a:endParaRPr>
          </a:p>
        </p:txBody>
      </p:sp>
      <p:sp>
        <p:nvSpPr>
          <p:cNvPr id="7" name="Marcador de texto 1">
            <a:extLst>
              <a:ext uri="{FF2B5EF4-FFF2-40B4-BE49-F238E27FC236}">
                <a16:creationId xmlns:a16="http://schemas.microsoft.com/office/drawing/2014/main" id="{0F9D8459-4AF6-740E-AB03-8A86E5E513EA}"/>
              </a:ext>
            </a:extLst>
          </p:cNvPr>
          <p:cNvSpPr txBox="1">
            <a:spLocks/>
          </p:cNvSpPr>
          <p:nvPr/>
        </p:nvSpPr>
        <p:spPr>
          <a:xfrm>
            <a:off x="294745" y="413444"/>
            <a:ext cx="5701953" cy="99332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400" b="1" kern="1200">
                <a:solidFill>
                  <a:srgbClr val="014B7F"/>
                </a:solidFill>
                <a:latin typeface="Poppins" panose="00000500000000000000" pitchFamily="2" charset="0"/>
                <a:ea typeface="+mn-ea"/>
                <a:cs typeface="Poppins" panose="000005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MX" sz="2400" dirty="0"/>
              <a:t>Retos y Oportunidades</a:t>
            </a:r>
          </a:p>
        </p:txBody>
      </p:sp>
      <p:sp>
        <p:nvSpPr>
          <p:cNvPr id="9" name="TextBox 8">
            <a:extLst>
              <a:ext uri="{FF2B5EF4-FFF2-40B4-BE49-F238E27FC236}">
                <a16:creationId xmlns:a16="http://schemas.microsoft.com/office/drawing/2014/main" id="{DE05FDFA-B8C1-7EBC-0B9B-296905FBF032}"/>
              </a:ext>
            </a:extLst>
          </p:cNvPr>
          <p:cNvSpPr txBox="1"/>
          <p:nvPr/>
        </p:nvSpPr>
        <p:spPr>
          <a:xfrm>
            <a:off x="749710" y="1268448"/>
            <a:ext cx="6144768" cy="307777"/>
          </a:xfrm>
          <a:prstGeom prst="rect">
            <a:avLst/>
          </a:prstGeom>
          <a:noFill/>
        </p:spPr>
        <p:txBody>
          <a:bodyPr wrap="square">
            <a:spAutoFit/>
          </a:bodyPr>
          <a:lstStyle/>
          <a:p>
            <a:r>
              <a:rPr lang="es-MX" sz="1400" b="1" dirty="0">
                <a:latin typeface="Aptos Display" panose="020B0004020202020204" pitchFamily="34" charset="0"/>
              </a:rPr>
              <a:t>Destinos a nivel mundial</a:t>
            </a:r>
            <a:endParaRPr lang="en-US" sz="1400" dirty="0">
              <a:latin typeface="Aptos Display" panose="020B0004020202020204" pitchFamily="34" charset="0"/>
            </a:endParaRPr>
          </a:p>
        </p:txBody>
      </p:sp>
    </p:spTree>
    <p:extLst>
      <p:ext uri="{BB962C8B-B14F-4D97-AF65-F5344CB8AC3E}">
        <p14:creationId xmlns:p14="http://schemas.microsoft.com/office/powerpoint/2010/main" val="40351477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067404-8B0F-CF5E-ED0B-CCE519E31F0E}"/>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EB514AB2-CD8E-3EF5-E81B-7D5A09FAB831}"/>
              </a:ext>
            </a:extLst>
          </p:cNvPr>
          <p:cNvSpPr txBox="1"/>
          <p:nvPr/>
        </p:nvSpPr>
        <p:spPr>
          <a:xfrm>
            <a:off x="481101" y="2053463"/>
            <a:ext cx="11288404" cy="369332"/>
          </a:xfrm>
          <a:prstGeom prst="rect">
            <a:avLst/>
          </a:prstGeom>
          <a:noFill/>
        </p:spPr>
        <p:txBody>
          <a:bodyPr wrap="square">
            <a:spAutoFit/>
          </a:bodyPr>
          <a:lstStyle/>
          <a:p>
            <a:pPr algn="l">
              <a:buFont typeface="+mj-lt"/>
              <a:buAutoNum type="arabicPeriod"/>
            </a:pPr>
            <a:endParaRPr lang="es-MX" b="0" i="0" dirty="0">
              <a:solidFill>
                <a:srgbClr val="111111"/>
              </a:solidFill>
              <a:effectLst/>
              <a:highlight>
                <a:srgbClr val="F7F7F7"/>
              </a:highlight>
              <a:latin typeface="-apple-system"/>
            </a:endParaRPr>
          </a:p>
        </p:txBody>
      </p:sp>
      <p:sp>
        <p:nvSpPr>
          <p:cNvPr id="2" name="Marcador de texto 1">
            <a:extLst>
              <a:ext uri="{FF2B5EF4-FFF2-40B4-BE49-F238E27FC236}">
                <a16:creationId xmlns:a16="http://schemas.microsoft.com/office/drawing/2014/main" id="{B7C5DD24-A8C8-5887-D8DF-85D6E7190FC4}"/>
              </a:ext>
            </a:extLst>
          </p:cNvPr>
          <p:cNvSpPr txBox="1">
            <a:spLocks/>
          </p:cNvSpPr>
          <p:nvPr/>
        </p:nvSpPr>
        <p:spPr>
          <a:xfrm>
            <a:off x="1507134" y="2435679"/>
            <a:ext cx="8011770" cy="99332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400" b="1" kern="1200">
                <a:solidFill>
                  <a:srgbClr val="014B7F"/>
                </a:solidFill>
                <a:latin typeface="Poppins" panose="00000500000000000000" pitchFamily="2" charset="0"/>
                <a:ea typeface="+mn-ea"/>
                <a:cs typeface="Poppins" panose="000005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MX" sz="2400" dirty="0"/>
              <a:t>Evolución al Futuro</a:t>
            </a:r>
          </a:p>
          <a:p>
            <a:r>
              <a:rPr lang="es-MX" sz="2400" dirty="0"/>
              <a:t>Adaptabilidad a las preferencias del cliente</a:t>
            </a:r>
          </a:p>
        </p:txBody>
      </p:sp>
    </p:spTree>
    <p:extLst>
      <p:ext uri="{BB962C8B-B14F-4D97-AF65-F5344CB8AC3E}">
        <p14:creationId xmlns:p14="http://schemas.microsoft.com/office/powerpoint/2010/main" val="40929521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D83E2C12-6326-1F52-68A8-3A8477249EC3}"/>
              </a:ext>
            </a:extLst>
          </p:cNvPr>
          <p:cNvSpPr>
            <a:spLocks noGrp="1"/>
          </p:cNvSpPr>
          <p:nvPr>
            <p:ph type="body" sz="quarter" idx="15"/>
          </p:nvPr>
        </p:nvSpPr>
        <p:spPr/>
        <p:txBody>
          <a:bodyPr/>
          <a:lstStyle/>
          <a:p>
            <a:r>
              <a:rPr lang="es-MX" sz="2400" dirty="0"/>
              <a:t>Tendencias</a:t>
            </a:r>
          </a:p>
        </p:txBody>
      </p:sp>
      <p:sp>
        <p:nvSpPr>
          <p:cNvPr id="4" name="TextBox 3">
            <a:extLst>
              <a:ext uri="{FF2B5EF4-FFF2-40B4-BE49-F238E27FC236}">
                <a16:creationId xmlns:a16="http://schemas.microsoft.com/office/drawing/2014/main" id="{E7BC688C-A37A-965F-6C00-2E12194E1D30}"/>
              </a:ext>
            </a:extLst>
          </p:cNvPr>
          <p:cNvSpPr txBox="1"/>
          <p:nvPr/>
        </p:nvSpPr>
        <p:spPr>
          <a:xfrm>
            <a:off x="481101" y="2053463"/>
            <a:ext cx="11288404" cy="369332"/>
          </a:xfrm>
          <a:prstGeom prst="rect">
            <a:avLst/>
          </a:prstGeom>
          <a:noFill/>
        </p:spPr>
        <p:txBody>
          <a:bodyPr wrap="square">
            <a:spAutoFit/>
          </a:bodyPr>
          <a:lstStyle/>
          <a:p>
            <a:pPr algn="l">
              <a:buFont typeface="+mj-lt"/>
              <a:buAutoNum type="arabicPeriod"/>
            </a:pPr>
            <a:endParaRPr lang="es-MX" b="0" i="0" dirty="0">
              <a:solidFill>
                <a:srgbClr val="111111"/>
              </a:solidFill>
              <a:effectLst/>
              <a:highlight>
                <a:srgbClr val="F7F7F7"/>
              </a:highlight>
              <a:latin typeface="-apple-system"/>
            </a:endParaRPr>
          </a:p>
        </p:txBody>
      </p:sp>
      <p:sp>
        <p:nvSpPr>
          <p:cNvPr id="6" name="TextBox 5">
            <a:extLst>
              <a:ext uri="{FF2B5EF4-FFF2-40B4-BE49-F238E27FC236}">
                <a16:creationId xmlns:a16="http://schemas.microsoft.com/office/drawing/2014/main" id="{7222801B-16E7-1820-BC06-F4303D7BC457}"/>
              </a:ext>
            </a:extLst>
          </p:cNvPr>
          <p:cNvSpPr txBox="1"/>
          <p:nvPr/>
        </p:nvSpPr>
        <p:spPr>
          <a:xfrm>
            <a:off x="589742" y="1717424"/>
            <a:ext cx="11071121" cy="3539430"/>
          </a:xfrm>
          <a:prstGeom prst="rect">
            <a:avLst/>
          </a:prstGeom>
          <a:noFill/>
        </p:spPr>
        <p:txBody>
          <a:bodyPr wrap="square">
            <a:spAutoFit/>
          </a:bodyPr>
          <a:lstStyle/>
          <a:p>
            <a:pPr algn="just"/>
            <a:r>
              <a:rPr lang="es-ES" sz="1400" dirty="0">
                <a:latin typeface="Aptos Display" panose="020B0004020202020204" pitchFamily="34" charset="0"/>
                <a:cs typeface="Arial" panose="020B0604020202020204" pitchFamily="34" charset="0"/>
              </a:rPr>
              <a:t>La industria del tiempo compartido y propiedad vacacional en México se mantiene con un crecimiento constante, debido a gran parte a la resiliencia del mercado, la creciente demanda de los consumidores, la flexibilidad de las membresías y experiencias personalizadas y autenticas. El mercado está experimentando un crecimiento significativo, con un enfoque en la innovación y la adaptación a las necesidades de las nuevas generaciones de viajeros. </a:t>
            </a:r>
          </a:p>
          <a:p>
            <a:pPr algn="just"/>
            <a:endParaRPr lang="es-ES" sz="1400" dirty="0">
              <a:latin typeface="Aptos Display" panose="020B0004020202020204" pitchFamily="34" charset="0"/>
              <a:cs typeface="Arial" panose="020B0604020202020204" pitchFamily="34" charset="0"/>
            </a:endParaRPr>
          </a:p>
          <a:p>
            <a:pPr algn="just"/>
            <a:r>
              <a:rPr lang="es-MX" sz="1400" dirty="0">
                <a:latin typeface="Aptos Display" panose="020B0004020202020204" pitchFamily="34" charset="0"/>
                <a:cs typeface="Arial" panose="020B0604020202020204" pitchFamily="34" charset="0"/>
              </a:rPr>
              <a:t>Algunas de las tendencias claves son:</a:t>
            </a:r>
          </a:p>
          <a:p>
            <a:pPr algn="just"/>
            <a:endParaRPr lang="es-ES" sz="1400" dirty="0">
              <a:latin typeface="Aptos Display" panose="020B0004020202020204" pitchFamily="34" charset="0"/>
              <a:cs typeface="Arial" panose="020B0604020202020204" pitchFamily="34" charset="0"/>
            </a:endParaRPr>
          </a:p>
          <a:p>
            <a:r>
              <a:rPr lang="es-ES" sz="1400" b="1" dirty="0">
                <a:latin typeface="Aptos Display" panose="020B0004020202020204" pitchFamily="34" charset="0"/>
                <a:cs typeface="Arial" panose="020B0604020202020204" pitchFamily="34" charset="0"/>
              </a:rPr>
              <a:t>Innovación y flexibilidad:  </a:t>
            </a:r>
            <a:r>
              <a:rPr lang="es-ES" sz="1400" dirty="0">
                <a:latin typeface="Aptos Display" panose="020B0004020202020204" pitchFamily="34" charset="0"/>
                <a:cs typeface="Arial" panose="020B0604020202020204" pitchFamily="34" charset="0"/>
              </a:rPr>
              <a:t>	El modelo tradicional de tiempo compartido </a:t>
            </a:r>
          </a:p>
          <a:p>
            <a:r>
              <a:rPr lang="es-ES" sz="1400" b="1" dirty="0">
                <a:latin typeface="Aptos Display" panose="020B0004020202020204" pitchFamily="34" charset="0"/>
                <a:cs typeface="Arial" panose="020B0604020202020204" pitchFamily="34" charset="0"/>
              </a:rPr>
              <a:t>Digitalización: </a:t>
            </a:r>
            <a:r>
              <a:rPr lang="es-ES" sz="1400" dirty="0">
                <a:latin typeface="Aptos Display" panose="020B0004020202020204" pitchFamily="34" charset="0"/>
                <a:cs typeface="Arial" panose="020B0604020202020204" pitchFamily="34" charset="0"/>
              </a:rPr>
              <a:t>		Integración de la tecnología para mejorar la experiencia del cliente</a:t>
            </a:r>
          </a:p>
          <a:p>
            <a:r>
              <a:rPr lang="es-ES" sz="1400" b="1" dirty="0">
                <a:latin typeface="Aptos Display" panose="020B0004020202020204" pitchFamily="34" charset="0"/>
                <a:cs typeface="Arial" panose="020B0604020202020204" pitchFamily="34" charset="0"/>
              </a:rPr>
              <a:t>Nuevas generaciones:		</a:t>
            </a:r>
            <a:r>
              <a:rPr lang="es-ES" sz="1400" dirty="0">
                <a:latin typeface="Aptos Display" panose="020B0004020202020204" pitchFamily="34" charset="0"/>
                <a:cs typeface="Arial" panose="020B0604020202020204" pitchFamily="34" charset="0"/>
              </a:rPr>
              <a:t>Adaptación a las expectativas de los viajeros más jóvenes y el turismo remoto</a:t>
            </a:r>
          </a:p>
          <a:p>
            <a:r>
              <a:rPr lang="es-ES" sz="1400" b="1" dirty="0">
                <a:latin typeface="Aptos Display" panose="020B0004020202020204" pitchFamily="34" charset="0"/>
                <a:cs typeface="Arial" panose="020B0604020202020204" pitchFamily="34" charset="0"/>
              </a:rPr>
              <a:t>Destinos alternativos: 		</a:t>
            </a:r>
            <a:r>
              <a:rPr lang="es-ES" sz="1400" dirty="0">
                <a:latin typeface="Aptos Display" panose="020B0004020202020204" pitchFamily="34" charset="0"/>
                <a:cs typeface="Arial" panose="020B0604020202020204" pitchFamily="34" charset="0"/>
              </a:rPr>
              <a:t>Menos demanda que ofrecen experiencias similares con menos saturación</a:t>
            </a:r>
          </a:p>
          <a:p>
            <a:r>
              <a:rPr lang="es-ES" sz="1400" b="1" dirty="0">
                <a:latin typeface="Aptos Display" panose="020B0004020202020204" pitchFamily="34" charset="0"/>
                <a:cs typeface="Arial" panose="020B0604020202020204" pitchFamily="34" charset="0"/>
              </a:rPr>
              <a:t>Turismo sostenible: 	</a:t>
            </a:r>
            <a:r>
              <a:rPr lang="es-ES" sz="1400" dirty="0">
                <a:latin typeface="Aptos Display" panose="020B0004020202020204" pitchFamily="34" charset="0"/>
                <a:cs typeface="Arial" panose="020B0604020202020204" pitchFamily="34" charset="0"/>
              </a:rPr>
              <a:t>	Turismo regenerativo</a:t>
            </a:r>
          </a:p>
          <a:p>
            <a:r>
              <a:rPr lang="es-ES" sz="1400" b="1" dirty="0">
                <a:latin typeface="Aptos Display" panose="020B0004020202020204" pitchFamily="34" charset="0"/>
                <a:cs typeface="Arial" panose="020B0604020202020204" pitchFamily="34" charset="0"/>
              </a:rPr>
              <a:t>Nómadas digitales: 	</a:t>
            </a:r>
            <a:r>
              <a:rPr lang="es-ES" sz="1400" dirty="0">
                <a:latin typeface="Aptos Display" panose="020B0004020202020204" pitchFamily="34" charset="0"/>
                <a:cs typeface="Arial" panose="020B0604020202020204" pitchFamily="34" charset="0"/>
              </a:rPr>
              <a:t>	El aumento de trabajadores remotos impulsa la demanda de propiedades vacacionales</a:t>
            </a:r>
          </a:p>
          <a:p>
            <a:pPr algn="just"/>
            <a:endParaRPr lang="es-ES" sz="1400" dirty="0">
              <a:latin typeface="Aptos Display" panose="020B0004020202020204" pitchFamily="34" charset="0"/>
              <a:cs typeface="Arial" panose="020B0604020202020204" pitchFamily="34" charset="0"/>
            </a:endParaRPr>
          </a:p>
          <a:p>
            <a:pPr algn="just"/>
            <a:endParaRPr lang="es-ES" sz="1400" dirty="0">
              <a:latin typeface="Aptos Display" panose="020B0004020202020204" pitchFamily="34" charset="0"/>
              <a:cs typeface="Arial" panose="020B0604020202020204" pitchFamily="34" charset="0"/>
            </a:endParaRPr>
          </a:p>
          <a:p>
            <a:pPr algn="just"/>
            <a:r>
              <a:rPr lang="es-ES" sz="1400" dirty="0">
                <a:latin typeface="Aptos Display" panose="020B0004020202020204" pitchFamily="34" charset="0"/>
                <a:cs typeface="Arial" panose="020B0604020202020204" pitchFamily="34" charset="0"/>
              </a:rPr>
              <a:t>Las tendencias y el futuro de la propiedad vacacional en México apuntan hacia un crecimiento sostenido, impulsado por la inversión extranjera, la demanda de experiencias personalizadas y el desarrollo tecnológico.</a:t>
            </a:r>
            <a:endParaRPr lang="es-MX" sz="1400" dirty="0">
              <a:latin typeface="Aptos Display" panose="020B0004020202020204" pitchFamily="34" charset="0"/>
              <a:cs typeface="Arial" panose="020B0604020202020204" pitchFamily="34" charset="0"/>
            </a:endParaRPr>
          </a:p>
        </p:txBody>
      </p:sp>
    </p:spTree>
    <p:extLst>
      <p:ext uri="{BB962C8B-B14F-4D97-AF65-F5344CB8AC3E}">
        <p14:creationId xmlns:p14="http://schemas.microsoft.com/office/powerpoint/2010/main" val="28791945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D83E2C12-6326-1F52-68A8-3A8477249EC3}"/>
              </a:ext>
            </a:extLst>
          </p:cNvPr>
          <p:cNvSpPr>
            <a:spLocks noGrp="1"/>
          </p:cNvSpPr>
          <p:nvPr>
            <p:ph type="body" sz="quarter" idx="15"/>
          </p:nvPr>
        </p:nvSpPr>
        <p:spPr>
          <a:xfrm>
            <a:off x="142773" y="429810"/>
            <a:ext cx="8470875" cy="993321"/>
          </a:xfrm>
        </p:spPr>
        <p:txBody>
          <a:bodyPr/>
          <a:lstStyle/>
          <a:p>
            <a:r>
              <a:rPr lang="es-MX" sz="2400" dirty="0"/>
              <a:t>Evolución al Futuro</a:t>
            </a:r>
          </a:p>
          <a:p>
            <a:r>
              <a:rPr lang="es-MX" sz="2400" dirty="0"/>
              <a:t>Adaptabilidad a las preferencias del cliente</a:t>
            </a:r>
          </a:p>
          <a:p>
            <a:r>
              <a:rPr lang="es-MX" sz="2400" dirty="0"/>
              <a:t> </a:t>
            </a:r>
          </a:p>
        </p:txBody>
      </p:sp>
      <p:sp>
        <p:nvSpPr>
          <p:cNvPr id="4" name="TextBox 3">
            <a:extLst>
              <a:ext uri="{FF2B5EF4-FFF2-40B4-BE49-F238E27FC236}">
                <a16:creationId xmlns:a16="http://schemas.microsoft.com/office/drawing/2014/main" id="{E7BC688C-A37A-965F-6C00-2E12194E1D30}"/>
              </a:ext>
            </a:extLst>
          </p:cNvPr>
          <p:cNvSpPr txBox="1"/>
          <p:nvPr/>
        </p:nvSpPr>
        <p:spPr>
          <a:xfrm>
            <a:off x="481101" y="2053463"/>
            <a:ext cx="11288404" cy="369332"/>
          </a:xfrm>
          <a:prstGeom prst="rect">
            <a:avLst/>
          </a:prstGeom>
          <a:noFill/>
        </p:spPr>
        <p:txBody>
          <a:bodyPr wrap="square">
            <a:spAutoFit/>
          </a:bodyPr>
          <a:lstStyle/>
          <a:p>
            <a:pPr algn="l">
              <a:buFont typeface="+mj-lt"/>
              <a:buAutoNum type="arabicPeriod"/>
            </a:pPr>
            <a:endParaRPr lang="es-MX" b="0" i="0" dirty="0">
              <a:solidFill>
                <a:srgbClr val="111111"/>
              </a:solidFill>
              <a:effectLst/>
              <a:highlight>
                <a:srgbClr val="F7F7F7"/>
              </a:highlight>
              <a:latin typeface="-apple-system"/>
            </a:endParaRPr>
          </a:p>
        </p:txBody>
      </p:sp>
      <p:sp>
        <p:nvSpPr>
          <p:cNvPr id="6" name="TextBox 5">
            <a:extLst>
              <a:ext uri="{FF2B5EF4-FFF2-40B4-BE49-F238E27FC236}">
                <a16:creationId xmlns:a16="http://schemas.microsoft.com/office/drawing/2014/main" id="{7222801B-16E7-1820-BC06-F4303D7BC457}"/>
              </a:ext>
            </a:extLst>
          </p:cNvPr>
          <p:cNvSpPr txBox="1"/>
          <p:nvPr/>
        </p:nvSpPr>
        <p:spPr>
          <a:xfrm>
            <a:off x="560439" y="1553653"/>
            <a:ext cx="11071121" cy="3754874"/>
          </a:xfrm>
          <a:prstGeom prst="rect">
            <a:avLst/>
          </a:prstGeom>
          <a:noFill/>
        </p:spPr>
        <p:txBody>
          <a:bodyPr wrap="square">
            <a:spAutoFit/>
          </a:bodyPr>
          <a:lstStyle/>
          <a:p>
            <a:pPr algn="just"/>
            <a:endParaRPr lang="es-MX" sz="1400" dirty="0">
              <a:latin typeface="Aptos Display" panose="020B0004020202020204" pitchFamily="34" charset="0"/>
            </a:endParaRPr>
          </a:p>
          <a:p>
            <a:pPr algn="just"/>
            <a:r>
              <a:rPr lang="es-ES" sz="1400" dirty="0">
                <a:latin typeface="Aptos Display" panose="020B0004020202020204" pitchFamily="34" charset="0"/>
              </a:rPr>
              <a:t>La </a:t>
            </a:r>
            <a:r>
              <a:rPr lang="es-ES" sz="1400" b="1" dirty="0">
                <a:latin typeface="Aptos Display" panose="020B0004020202020204" pitchFamily="34" charset="0"/>
              </a:rPr>
              <a:t>evolución futura de los clubes vacacionales</a:t>
            </a:r>
            <a:r>
              <a:rPr lang="es-ES" sz="1400" dirty="0">
                <a:latin typeface="Aptos Display" panose="020B0004020202020204" pitchFamily="34" charset="0"/>
              </a:rPr>
              <a:t> se está definiendo por una transformación profunda en su modelo de negocio, impulsada por las nuevas expectativas del consumidor, la tecnología y la sostenibilidad. </a:t>
            </a:r>
          </a:p>
          <a:p>
            <a:pPr algn="just"/>
            <a:endParaRPr lang="es-ES" sz="1400" dirty="0">
              <a:latin typeface="Aptos Display" panose="020B0004020202020204" pitchFamily="34" charset="0"/>
            </a:endParaRPr>
          </a:p>
          <a:p>
            <a:pPr algn="just"/>
            <a:r>
              <a:rPr lang="es-MX" sz="1400" dirty="0">
                <a:latin typeface="Aptos Display" panose="020B0004020202020204" pitchFamily="34" charset="0"/>
              </a:rPr>
              <a:t>La industria en México enfrenta varios desafíos específicos que requieren una adaptación constante y una visión estratégica para mantener la competitividad y satisfacer las expectativas de los consumidores.</a:t>
            </a:r>
          </a:p>
          <a:p>
            <a:pPr algn="just"/>
            <a:endParaRPr lang="es-MX" sz="1400" dirty="0">
              <a:latin typeface="Aptos Display" panose="020B0004020202020204" pitchFamily="34" charset="0"/>
            </a:endParaRPr>
          </a:p>
          <a:p>
            <a:pPr algn="just"/>
            <a:endParaRPr lang="es-MX" sz="1400" dirty="0">
              <a:latin typeface="Aptos Display" panose="020B0004020202020204" pitchFamily="34" charset="0"/>
            </a:endParaRPr>
          </a:p>
          <a:p>
            <a:pPr marL="285750" indent="-285750" algn="just">
              <a:buFont typeface="Arial" panose="020B0604020202020204" pitchFamily="34" charset="0"/>
              <a:buChar char="•"/>
            </a:pPr>
            <a:r>
              <a:rPr lang="es-MX" sz="1400" b="1" dirty="0">
                <a:latin typeface="Aptos Display" panose="020B0004020202020204" pitchFamily="34" charset="0"/>
              </a:rPr>
              <a:t>Competencia Internacional</a:t>
            </a:r>
          </a:p>
          <a:p>
            <a:pPr marL="285750" indent="-285750" algn="just">
              <a:buFont typeface="Arial" panose="020B0604020202020204" pitchFamily="34" charset="0"/>
              <a:buChar char="•"/>
            </a:pPr>
            <a:endParaRPr lang="es-MX" sz="1400" dirty="0">
              <a:latin typeface="Aptos Display" panose="020B0004020202020204" pitchFamily="34" charset="0"/>
            </a:endParaRPr>
          </a:p>
          <a:p>
            <a:pPr marL="285750" indent="-285750" algn="just">
              <a:buFont typeface="Arial" panose="020B0604020202020204" pitchFamily="34" charset="0"/>
              <a:buChar char="•"/>
            </a:pPr>
            <a:r>
              <a:rPr lang="es-MX" sz="1400" b="1" dirty="0">
                <a:latin typeface="Aptos Display" panose="020B0004020202020204" pitchFamily="34" charset="0"/>
              </a:rPr>
              <a:t>Fluctuaciones Económicas y Políticas</a:t>
            </a:r>
          </a:p>
          <a:p>
            <a:pPr marL="285750" indent="-285750" algn="just">
              <a:buFont typeface="Arial" panose="020B0604020202020204" pitchFamily="34" charset="0"/>
              <a:buChar char="•"/>
            </a:pPr>
            <a:endParaRPr lang="es-MX" sz="1400" dirty="0">
              <a:latin typeface="Aptos Display" panose="020B0004020202020204" pitchFamily="34" charset="0"/>
            </a:endParaRPr>
          </a:p>
          <a:p>
            <a:pPr marL="285750" indent="-285750" algn="just">
              <a:buFont typeface="Arial" panose="020B0604020202020204" pitchFamily="34" charset="0"/>
              <a:buChar char="•"/>
            </a:pPr>
            <a:r>
              <a:rPr lang="es-MX" sz="1400" b="1" dirty="0">
                <a:latin typeface="Aptos Display" panose="020B0004020202020204" pitchFamily="34" charset="0"/>
              </a:rPr>
              <a:t>Sostenibilidad y Responsabilidad Social</a:t>
            </a:r>
          </a:p>
          <a:p>
            <a:pPr marL="285750" indent="-285750" algn="just">
              <a:buFont typeface="Arial" panose="020B0604020202020204" pitchFamily="34" charset="0"/>
              <a:buChar char="•"/>
            </a:pPr>
            <a:endParaRPr lang="es-MX" sz="1400" dirty="0">
              <a:latin typeface="Aptos Display" panose="020B0004020202020204" pitchFamily="34" charset="0"/>
            </a:endParaRPr>
          </a:p>
          <a:p>
            <a:pPr marL="285750" indent="-285750" algn="just">
              <a:buFont typeface="Arial" panose="020B0604020202020204" pitchFamily="34" charset="0"/>
              <a:buChar char="•"/>
            </a:pPr>
            <a:r>
              <a:rPr lang="es-MX" sz="1400" b="1" dirty="0">
                <a:latin typeface="Aptos Display" panose="020B0004020202020204" pitchFamily="34" charset="0"/>
              </a:rPr>
              <a:t>Adaptación a Nuevas Preferencias del Consumidor</a:t>
            </a:r>
          </a:p>
          <a:p>
            <a:pPr marL="285750" indent="-285750" algn="just">
              <a:buFont typeface="Arial" panose="020B0604020202020204" pitchFamily="34" charset="0"/>
              <a:buChar char="•"/>
            </a:pPr>
            <a:endParaRPr lang="es-MX" sz="1400" b="1" dirty="0">
              <a:latin typeface="Aptos Display" panose="020B0004020202020204" pitchFamily="34" charset="0"/>
            </a:endParaRPr>
          </a:p>
          <a:p>
            <a:pPr marL="285750" indent="-285750" algn="just">
              <a:buFont typeface="Arial" panose="020B0604020202020204" pitchFamily="34" charset="0"/>
              <a:buChar char="•"/>
            </a:pPr>
            <a:r>
              <a:rPr lang="es-MX" sz="1400" b="1" dirty="0">
                <a:latin typeface="Aptos Display" panose="020B0004020202020204" pitchFamily="34" charset="0"/>
              </a:rPr>
              <a:t>Regulaciones y Transparencia</a:t>
            </a:r>
            <a:endParaRPr lang="es-MX" sz="1400" dirty="0">
              <a:latin typeface="Aptos Display" panose="020B0004020202020204" pitchFamily="34" charset="0"/>
            </a:endParaRPr>
          </a:p>
        </p:txBody>
      </p:sp>
      <p:pic>
        <p:nvPicPr>
          <p:cNvPr id="5" name="Picture 4">
            <a:extLst>
              <a:ext uri="{FF2B5EF4-FFF2-40B4-BE49-F238E27FC236}">
                <a16:creationId xmlns:a16="http://schemas.microsoft.com/office/drawing/2014/main" id="{BFD3CE95-455F-4779-6517-B58464BDF13B}"/>
              </a:ext>
            </a:extLst>
          </p:cNvPr>
          <p:cNvPicPr>
            <a:picLocks noChangeAspect="1"/>
          </p:cNvPicPr>
          <p:nvPr/>
        </p:nvPicPr>
        <p:blipFill>
          <a:blip r:embed="rId2"/>
          <a:stretch>
            <a:fillRect/>
          </a:stretch>
        </p:blipFill>
        <p:spPr>
          <a:xfrm>
            <a:off x="5491706" y="3237524"/>
            <a:ext cx="4271419" cy="2395363"/>
          </a:xfrm>
          <a:prstGeom prst="rect">
            <a:avLst/>
          </a:prstGeom>
          <a:ln>
            <a:noFill/>
          </a:ln>
          <a:effectLst>
            <a:softEdge rad="112500"/>
          </a:effectLst>
        </p:spPr>
      </p:pic>
    </p:spTree>
    <p:extLst>
      <p:ext uri="{BB962C8B-B14F-4D97-AF65-F5344CB8AC3E}">
        <p14:creationId xmlns:p14="http://schemas.microsoft.com/office/powerpoint/2010/main" val="421390377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14B692-4459-EC15-73F6-D8267FCF14A3}"/>
            </a:ext>
          </a:extLst>
        </p:cNvPr>
        <p:cNvGrpSpPr/>
        <p:nvPr/>
      </p:nvGrpSpPr>
      <p:grpSpPr>
        <a:xfrm>
          <a:off x="0" y="0"/>
          <a:ext cx="0" cy="0"/>
          <a:chOff x="0" y="0"/>
          <a:chExt cx="0" cy="0"/>
        </a:xfrm>
      </p:grpSpPr>
      <p:sp>
        <p:nvSpPr>
          <p:cNvPr id="2" name="Marcador de texto 1">
            <a:extLst>
              <a:ext uri="{FF2B5EF4-FFF2-40B4-BE49-F238E27FC236}">
                <a16:creationId xmlns:a16="http://schemas.microsoft.com/office/drawing/2014/main" id="{064D3B1A-1ADA-F6B9-5D9A-CF7C8D5006A1}"/>
              </a:ext>
            </a:extLst>
          </p:cNvPr>
          <p:cNvSpPr>
            <a:spLocks noGrp="1"/>
          </p:cNvSpPr>
          <p:nvPr>
            <p:ph type="body" sz="quarter" idx="15"/>
          </p:nvPr>
        </p:nvSpPr>
        <p:spPr>
          <a:xfrm>
            <a:off x="142773" y="429810"/>
            <a:ext cx="8470875" cy="993321"/>
          </a:xfrm>
        </p:spPr>
        <p:txBody>
          <a:bodyPr/>
          <a:lstStyle/>
          <a:p>
            <a:r>
              <a:rPr lang="es-MX" sz="2400" dirty="0"/>
              <a:t>Evolución al Futuro</a:t>
            </a:r>
          </a:p>
          <a:p>
            <a:r>
              <a:rPr lang="es-MX" sz="2400" dirty="0"/>
              <a:t>Adaptabilidad a las preferencias del cliente</a:t>
            </a:r>
          </a:p>
          <a:p>
            <a:r>
              <a:rPr lang="es-MX" sz="2400" dirty="0"/>
              <a:t> </a:t>
            </a:r>
          </a:p>
        </p:txBody>
      </p:sp>
      <p:sp>
        <p:nvSpPr>
          <p:cNvPr id="4" name="TextBox 3">
            <a:extLst>
              <a:ext uri="{FF2B5EF4-FFF2-40B4-BE49-F238E27FC236}">
                <a16:creationId xmlns:a16="http://schemas.microsoft.com/office/drawing/2014/main" id="{12FFF224-D369-4342-4C49-F04E2D8339CA}"/>
              </a:ext>
            </a:extLst>
          </p:cNvPr>
          <p:cNvSpPr txBox="1"/>
          <p:nvPr/>
        </p:nvSpPr>
        <p:spPr>
          <a:xfrm>
            <a:off x="481101" y="2325063"/>
            <a:ext cx="11288404" cy="369332"/>
          </a:xfrm>
          <a:prstGeom prst="rect">
            <a:avLst/>
          </a:prstGeom>
          <a:noFill/>
        </p:spPr>
        <p:txBody>
          <a:bodyPr wrap="square">
            <a:spAutoFit/>
          </a:bodyPr>
          <a:lstStyle/>
          <a:p>
            <a:pPr algn="l">
              <a:buFont typeface="+mj-lt"/>
              <a:buAutoNum type="arabicPeriod"/>
            </a:pPr>
            <a:endParaRPr lang="es-MX" b="0" i="0" dirty="0">
              <a:solidFill>
                <a:srgbClr val="111111"/>
              </a:solidFill>
              <a:effectLst/>
              <a:highlight>
                <a:srgbClr val="F7F7F7"/>
              </a:highlight>
              <a:latin typeface="-apple-system"/>
            </a:endParaRPr>
          </a:p>
        </p:txBody>
      </p:sp>
      <p:sp>
        <p:nvSpPr>
          <p:cNvPr id="6" name="TextBox 5">
            <a:extLst>
              <a:ext uri="{FF2B5EF4-FFF2-40B4-BE49-F238E27FC236}">
                <a16:creationId xmlns:a16="http://schemas.microsoft.com/office/drawing/2014/main" id="{9360961E-B410-CEC9-BEA4-D0C2A515B7B7}"/>
              </a:ext>
            </a:extLst>
          </p:cNvPr>
          <p:cNvSpPr txBox="1"/>
          <p:nvPr/>
        </p:nvSpPr>
        <p:spPr>
          <a:xfrm>
            <a:off x="639778" y="2100162"/>
            <a:ext cx="11071121" cy="2677656"/>
          </a:xfrm>
          <a:prstGeom prst="rect">
            <a:avLst/>
          </a:prstGeom>
          <a:noFill/>
        </p:spPr>
        <p:txBody>
          <a:bodyPr wrap="square">
            <a:spAutoFit/>
          </a:bodyPr>
          <a:lstStyle/>
          <a:p>
            <a:pPr algn="just"/>
            <a:endParaRPr lang="es-MX" sz="1400" dirty="0">
              <a:latin typeface="Aptos Display" panose="020B0004020202020204" pitchFamily="34" charset="0"/>
            </a:endParaRPr>
          </a:p>
          <a:p>
            <a:pPr marL="342900" indent="-342900" algn="just">
              <a:buAutoNum type="arabicPeriod"/>
            </a:pPr>
            <a:r>
              <a:rPr lang="es-ES" sz="1400" b="1" dirty="0">
                <a:latin typeface="Aptos Display" panose="020B0004020202020204" pitchFamily="34" charset="0"/>
              </a:rPr>
              <a:t>Experiencias Flexibles:	</a:t>
            </a:r>
            <a:r>
              <a:rPr lang="es-ES" sz="1400" dirty="0">
                <a:latin typeface="Aptos Display" panose="020B0004020202020204" pitchFamily="34" charset="0"/>
              </a:rPr>
              <a:t>	</a:t>
            </a:r>
            <a:r>
              <a:rPr lang="es-ES" sz="1400" dirty="0">
                <a:solidFill>
                  <a:srgbClr val="013253"/>
                </a:solidFill>
                <a:latin typeface="Aptos Display" panose="020B0004020202020204" pitchFamily="34" charset="0"/>
              </a:rPr>
              <a:t>El cliente busca libertad de elección, no solo alojamiento</a:t>
            </a:r>
          </a:p>
          <a:p>
            <a:pPr marL="342900" indent="-342900" algn="just">
              <a:buAutoNum type="arabicPeriod"/>
            </a:pPr>
            <a:endParaRPr lang="es-ES" sz="1400" dirty="0">
              <a:solidFill>
                <a:srgbClr val="013253"/>
              </a:solidFill>
              <a:latin typeface="Aptos Display" panose="020B0004020202020204" pitchFamily="34" charset="0"/>
            </a:endParaRPr>
          </a:p>
          <a:p>
            <a:pPr marL="342900" indent="-342900" algn="just">
              <a:buAutoNum type="arabicPeriod"/>
            </a:pPr>
            <a:r>
              <a:rPr lang="es-ES" sz="1400" b="1" dirty="0">
                <a:latin typeface="Aptos Display" panose="020B0004020202020204" pitchFamily="34" charset="0"/>
              </a:rPr>
              <a:t>Digitalización Total:			</a:t>
            </a:r>
            <a:r>
              <a:rPr lang="es-ES" sz="1400" dirty="0">
                <a:solidFill>
                  <a:srgbClr val="013253"/>
                </a:solidFill>
                <a:latin typeface="Aptos Display" panose="020B0004020202020204" pitchFamily="34" charset="0"/>
              </a:rPr>
              <a:t>Personalización de ofertas y anticipar preferencias</a:t>
            </a:r>
          </a:p>
          <a:p>
            <a:pPr marL="342900" indent="-342900" algn="just">
              <a:buAutoNum type="arabicPeriod"/>
            </a:pPr>
            <a:endParaRPr lang="es-ES" sz="1400" dirty="0">
              <a:solidFill>
                <a:srgbClr val="013253"/>
              </a:solidFill>
              <a:latin typeface="Aptos Display" panose="020B0004020202020204" pitchFamily="34" charset="0"/>
            </a:endParaRPr>
          </a:p>
          <a:p>
            <a:pPr marL="342900" indent="-342900" algn="just">
              <a:buAutoNum type="arabicPeriod"/>
            </a:pPr>
            <a:r>
              <a:rPr lang="es-ES" sz="1400" b="1" dirty="0">
                <a:latin typeface="Aptos Display" panose="020B0004020202020204" pitchFamily="34" charset="0"/>
              </a:rPr>
              <a:t>Enfoque en Experiencias:		</a:t>
            </a:r>
            <a:r>
              <a:rPr lang="es-ES" sz="1400" dirty="0">
                <a:solidFill>
                  <a:srgbClr val="013253"/>
                </a:solidFill>
                <a:latin typeface="Aptos Display" panose="020B0004020202020204" pitchFamily="34" charset="0"/>
              </a:rPr>
              <a:t>El valor esta en lo vivido</a:t>
            </a:r>
          </a:p>
          <a:p>
            <a:pPr marL="342900" indent="-342900" algn="just">
              <a:buAutoNum type="arabicPeriod"/>
            </a:pPr>
            <a:endParaRPr lang="es-ES" sz="1400" dirty="0">
              <a:solidFill>
                <a:srgbClr val="013253"/>
              </a:solidFill>
              <a:latin typeface="Aptos Display" panose="020B0004020202020204" pitchFamily="34" charset="0"/>
            </a:endParaRPr>
          </a:p>
          <a:p>
            <a:pPr marL="342900" indent="-342900" algn="just">
              <a:buAutoNum type="arabicPeriod"/>
            </a:pPr>
            <a:r>
              <a:rPr lang="es-ES" sz="1400" b="1" dirty="0">
                <a:latin typeface="Aptos Display" panose="020B0004020202020204" pitchFamily="34" charset="0"/>
              </a:rPr>
              <a:t>Sostenibilidad como Pilar:		</a:t>
            </a:r>
            <a:r>
              <a:rPr lang="es-ES" sz="1400" dirty="0">
                <a:solidFill>
                  <a:srgbClr val="013253"/>
                </a:solidFill>
                <a:latin typeface="Aptos Display" panose="020B0004020202020204" pitchFamily="34" charset="0"/>
              </a:rPr>
              <a:t>Propiedades eco-</a:t>
            </a:r>
            <a:r>
              <a:rPr lang="es-ES" sz="1400" dirty="0" err="1">
                <a:solidFill>
                  <a:srgbClr val="013253"/>
                </a:solidFill>
                <a:latin typeface="Aptos Display" panose="020B0004020202020204" pitchFamily="34" charset="0"/>
              </a:rPr>
              <a:t>friendly</a:t>
            </a:r>
            <a:r>
              <a:rPr lang="es-ES" sz="1400" dirty="0">
                <a:solidFill>
                  <a:srgbClr val="013253"/>
                </a:solidFill>
                <a:latin typeface="Aptos Display" panose="020B0004020202020204" pitchFamily="34" charset="0"/>
              </a:rPr>
              <a:t> – buscar certificaciones ambientales y sociales diferenciador competitivo</a:t>
            </a:r>
          </a:p>
          <a:p>
            <a:pPr marL="342900" indent="-342900" algn="just">
              <a:buAutoNum type="arabicPeriod"/>
            </a:pPr>
            <a:endParaRPr lang="es-ES" sz="1400" dirty="0">
              <a:solidFill>
                <a:srgbClr val="013253"/>
              </a:solidFill>
              <a:latin typeface="Aptos Display" panose="020B0004020202020204" pitchFamily="34" charset="0"/>
            </a:endParaRPr>
          </a:p>
          <a:p>
            <a:pPr marL="342900" indent="-342900" algn="just">
              <a:buAutoNum type="arabicPeriod"/>
            </a:pPr>
            <a:r>
              <a:rPr lang="es-ES" sz="1400" b="1" dirty="0">
                <a:latin typeface="Aptos Display" panose="020B0004020202020204" pitchFamily="34" charset="0"/>
              </a:rPr>
              <a:t>Segmentación avanzada por cliente:	</a:t>
            </a:r>
            <a:r>
              <a:rPr lang="es-ES" sz="1400" dirty="0">
                <a:solidFill>
                  <a:srgbClr val="013253"/>
                </a:solidFill>
                <a:latin typeface="Aptos Display" panose="020B0004020202020204" pitchFamily="34" charset="0"/>
              </a:rPr>
              <a:t>Crear productos específicos por perfil del consumidor , socio potencial de un club vacacional</a:t>
            </a:r>
          </a:p>
          <a:p>
            <a:pPr marL="342900" indent="-342900" algn="just">
              <a:buAutoNum type="arabicPeriod"/>
            </a:pPr>
            <a:endParaRPr lang="es-ES" sz="1400" dirty="0">
              <a:solidFill>
                <a:srgbClr val="013253"/>
              </a:solidFill>
              <a:latin typeface="Aptos Display" panose="020B0004020202020204" pitchFamily="34" charset="0"/>
            </a:endParaRPr>
          </a:p>
          <a:p>
            <a:pPr marL="342900" indent="-342900" algn="just">
              <a:buAutoNum type="arabicPeriod"/>
            </a:pPr>
            <a:r>
              <a:rPr lang="es-ES" sz="1400" b="1" dirty="0">
                <a:latin typeface="Aptos Display" panose="020B0004020202020204" pitchFamily="34" charset="0"/>
              </a:rPr>
              <a:t>Expansión de destinos emergentes:	</a:t>
            </a:r>
            <a:r>
              <a:rPr lang="es-ES" sz="1400" dirty="0">
                <a:solidFill>
                  <a:srgbClr val="013253"/>
                </a:solidFill>
                <a:latin typeface="Aptos Display" panose="020B0004020202020204" pitchFamily="34" charset="0"/>
              </a:rPr>
              <a:t>Apostar por destinos con riqueza cultural y menor saturación turística</a:t>
            </a:r>
            <a:endParaRPr lang="es-MX" sz="1400" dirty="0">
              <a:solidFill>
                <a:srgbClr val="013253"/>
              </a:solidFill>
              <a:latin typeface="Aptos Display" panose="020B0004020202020204" pitchFamily="34" charset="0"/>
            </a:endParaRPr>
          </a:p>
        </p:txBody>
      </p:sp>
      <p:pic>
        <p:nvPicPr>
          <p:cNvPr id="11" name="Picture 10">
            <a:extLst>
              <a:ext uri="{FF2B5EF4-FFF2-40B4-BE49-F238E27FC236}">
                <a16:creationId xmlns:a16="http://schemas.microsoft.com/office/drawing/2014/main" id="{AB6495DD-6073-924B-6ABD-BDCEBBE2D154}"/>
              </a:ext>
            </a:extLst>
          </p:cNvPr>
          <p:cNvPicPr>
            <a:picLocks noChangeAspect="1"/>
          </p:cNvPicPr>
          <p:nvPr/>
        </p:nvPicPr>
        <p:blipFill>
          <a:blip r:embed="rId2">
            <a:alphaModFix amt="15000"/>
          </a:blip>
          <a:stretch>
            <a:fillRect/>
          </a:stretch>
        </p:blipFill>
        <p:spPr>
          <a:xfrm>
            <a:off x="3960204" y="2100163"/>
            <a:ext cx="8231796" cy="3238738"/>
          </a:xfrm>
          <a:prstGeom prst="rect">
            <a:avLst/>
          </a:prstGeom>
        </p:spPr>
      </p:pic>
    </p:spTree>
    <p:extLst>
      <p:ext uri="{BB962C8B-B14F-4D97-AF65-F5344CB8AC3E}">
        <p14:creationId xmlns:p14="http://schemas.microsoft.com/office/powerpoint/2010/main" val="17527013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5BF421D-D457-D4F0-7C3C-267F84E36462}"/>
              </a:ext>
            </a:extLst>
          </p:cNvPr>
          <p:cNvPicPr>
            <a:picLocks noChangeAspect="1"/>
          </p:cNvPicPr>
          <p:nvPr/>
        </p:nvPicPr>
        <p:blipFill>
          <a:blip r:embed="rId2">
            <a:alphaModFix amt="20000"/>
          </a:blip>
          <a:stretch>
            <a:fillRect/>
          </a:stretch>
        </p:blipFill>
        <p:spPr>
          <a:xfrm>
            <a:off x="0" y="-58011"/>
            <a:ext cx="12167057" cy="6916011"/>
          </a:xfrm>
          <a:prstGeom prst="rect">
            <a:avLst/>
          </a:prstGeom>
        </p:spPr>
      </p:pic>
      <p:sp>
        <p:nvSpPr>
          <p:cNvPr id="4" name="TextBox 3">
            <a:extLst>
              <a:ext uri="{FF2B5EF4-FFF2-40B4-BE49-F238E27FC236}">
                <a16:creationId xmlns:a16="http://schemas.microsoft.com/office/drawing/2014/main" id="{E7BC688C-A37A-965F-6C00-2E12194E1D30}"/>
              </a:ext>
            </a:extLst>
          </p:cNvPr>
          <p:cNvSpPr txBox="1"/>
          <p:nvPr/>
        </p:nvSpPr>
        <p:spPr>
          <a:xfrm>
            <a:off x="481101" y="2053463"/>
            <a:ext cx="11288404" cy="369332"/>
          </a:xfrm>
          <a:prstGeom prst="rect">
            <a:avLst/>
          </a:prstGeom>
          <a:noFill/>
        </p:spPr>
        <p:txBody>
          <a:bodyPr wrap="square">
            <a:spAutoFit/>
          </a:bodyPr>
          <a:lstStyle/>
          <a:p>
            <a:pPr algn="l">
              <a:buFont typeface="+mj-lt"/>
              <a:buAutoNum type="arabicPeriod"/>
            </a:pPr>
            <a:endParaRPr lang="es-MX" b="0" i="0" dirty="0">
              <a:solidFill>
                <a:srgbClr val="111111"/>
              </a:solidFill>
              <a:effectLst/>
              <a:highlight>
                <a:srgbClr val="F7F7F7"/>
              </a:highlight>
              <a:latin typeface="-apple-system"/>
            </a:endParaRPr>
          </a:p>
        </p:txBody>
      </p:sp>
      <p:sp>
        <p:nvSpPr>
          <p:cNvPr id="6" name="TextBox 5">
            <a:extLst>
              <a:ext uri="{FF2B5EF4-FFF2-40B4-BE49-F238E27FC236}">
                <a16:creationId xmlns:a16="http://schemas.microsoft.com/office/drawing/2014/main" id="{7222801B-16E7-1820-BC06-F4303D7BC457}"/>
              </a:ext>
            </a:extLst>
          </p:cNvPr>
          <p:cNvSpPr txBox="1"/>
          <p:nvPr/>
        </p:nvSpPr>
        <p:spPr>
          <a:xfrm>
            <a:off x="698384" y="1377104"/>
            <a:ext cx="11071121" cy="5386090"/>
          </a:xfrm>
          <a:prstGeom prst="rect">
            <a:avLst/>
          </a:prstGeom>
          <a:noFill/>
        </p:spPr>
        <p:txBody>
          <a:bodyPr wrap="square">
            <a:spAutoFit/>
          </a:bodyPr>
          <a:lstStyle/>
          <a:p>
            <a:pPr algn="just"/>
            <a:r>
              <a:rPr lang="es-MX" sz="1600" dirty="0">
                <a:latin typeface="Aptos Display" panose="020B0004020202020204" pitchFamily="34" charset="0"/>
              </a:rPr>
              <a:t>Vivimos en un mundo VICA:</a:t>
            </a:r>
          </a:p>
          <a:p>
            <a:pPr algn="just"/>
            <a:endParaRPr lang="es-MX" sz="1600" dirty="0">
              <a:latin typeface="Aptos Display" panose="020B0004020202020204" pitchFamily="34" charset="0"/>
            </a:endParaRPr>
          </a:p>
          <a:p>
            <a:pPr marL="285750" indent="-285750" algn="just">
              <a:buFont typeface="Wingdings" panose="05000000000000000000" pitchFamily="2" charset="2"/>
              <a:buChar char="ü"/>
            </a:pPr>
            <a:r>
              <a:rPr lang="es-MX" sz="1600" dirty="0">
                <a:latin typeface="Aptos Display" panose="020B0004020202020204" pitchFamily="34" charset="0"/>
              </a:rPr>
              <a:t>Volátil </a:t>
            </a:r>
          </a:p>
          <a:p>
            <a:pPr marL="285750" indent="-285750" algn="just">
              <a:buFont typeface="Wingdings" panose="05000000000000000000" pitchFamily="2" charset="2"/>
              <a:buChar char="ü"/>
            </a:pPr>
            <a:r>
              <a:rPr lang="es-MX" sz="1600" dirty="0">
                <a:latin typeface="Aptos Display" panose="020B0004020202020204" pitchFamily="34" charset="0"/>
              </a:rPr>
              <a:t>Incierto</a:t>
            </a:r>
          </a:p>
          <a:p>
            <a:pPr marL="285750" indent="-285750" algn="just">
              <a:buFont typeface="Wingdings" panose="05000000000000000000" pitchFamily="2" charset="2"/>
              <a:buChar char="ü"/>
            </a:pPr>
            <a:r>
              <a:rPr lang="es-MX" sz="1600" dirty="0">
                <a:latin typeface="Aptos Display" panose="020B0004020202020204" pitchFamily="34" charset="0"/>
              </a:rPr>
              <a:t>Complejo </a:t>
            </a:r>
          </a:p>
          <a:p>
            <a:pPr marL="285750" indent="-285750" algn="just">
              <a:buFont typeface="Wingdings" panose="05000000000000000000" pitchFamily="2" charset="2"/>
              <a:buChar char="ü"/>
            </a:pPr>
            <a:r>
              <a:rPr lang="es-MX" sz="1600" dirty="0">
                <a:latin typeface="Aptos Display" panose="020B0004020202020204" pitchFamily="34" charset="0"/>
              </a:rPr>
              <a:t>Ambiguo</a:t>
            </a:r>
          </a:p>
          <a:p>
            <a:pPr marL="285750" indent="-285750" algn="just">
              <a:buFont typeface="Wingdings" panose="05000000000000000000" pitchFamily="2" charset="2"/>
              <a:buChar char="ü"/>
            </a:pPr>
            <a:endParaRPr lang="es-MX" sz="1600" dirty="0">
              <a:latin typeface="Aptos Display" panose="020B0004020202020204" pitchFamily="34" charset="0"/>
            </a:endParaRPr>
          </a:p>
          <a:p>
            <a:pPr marL="285750" indent="-285750" algn="just">
              <a:buFont typeface="Wingdings" panose="05000000000000000000" pitchFamily="2" charset="2"/>
              <a:buChar char="§"/>
            </a:pPr>
            <a:r>
              <a:rPr lang="es-MX" sz="1600" dirty="0">
                <a:latin typeface="Aptos Display" panose="020B0004020202020204" pitchFamily="34" charset="0"/>
              </a:rPr>
              <a:t>Los nuevos clientes potenciales se han vuelto mas críticos, exigentes y volátiles.</a:t>
            </a:r>
          </a:p>
          <a:p>
            <a:pPr marL="285750" indent="-285750" algn="just">
              <a:buFont typeface="Wingdings" panose="05000000000000000000" pitchFamily="2" charset="2"/>
              <a:buChar char="§"/>
            </a:pPr>
            <a:endParaRPr lang="es-MX" sz="1600" dirty="0">
              <a:latin typeface="Aptos Display" panose="020B0004020202020204" pitchFamily="34" charset="0"/>
            </a:endParaRPr>
          </a:p>
          <a:p>
            <a:pPr marL="285750" indent="-285750" algn="just">
              <a:buFont typeface="Wingdings" panose="05000000000000000000" pitchFamily="2" charset="2"/>
              <a:buChar char="§"/>
            </a:pPr>
            <a:r>
              <a:rPr lang="es-MX" sz="1600" dirty="0">
                <a:latin typeface="Aptos Display" panose="020B0004020202020204" pitchFamily="34" charset="0"/>
              </a:rPr>
              <a:t>Las compañías  se enfrentan a un entorno cambiante y altamente competitivo, lo que exige adaptarse y evolucionar constantemente.</a:t>
            </a:r>
          </a:p>
          <a:p>
            <a:pPr marL="285750" indent="-285750" algn="just">
              <a:buFont typeface="Wingdings" panose="05000000000000000000" pitchFamily="2" charset="2"/>
              <a:buChar char="§"/>
            </a:pPr>
            <a:endParaRPr lang="es-MX" sz="1600" dirty="0">
              <a:latin typeface="Aptos Display" panose="020B0004020202020204" pitchFamily="34" charset="0"/>
            </a:endParaRPr>
          </a:p>
          <a:p>
            <a:pPr marL="285750" indent="-285750" algn="just">
              <a:buFont typeface="Wingdings" panose="05000000000000000000" pitchFamily="2" charset="2"/>
              <a:buChar char="§"/>
            </a:pPr>
            <a:r>
              <a:rPr lang="es-MX" sz="1600" dirty="0">
                <a:latin typeface="Aptos Display" panose="020B0004020202020204" pitchFamily="34" charset="0"/>
              </a:rPr>
              <a:t>La industria esta evolucionando para satisfacer las preferencias y valores de estas generaciones.</a:t>
            </a:r>
          </a:p>
          <a:p>
            <a:pPr marL="285750" indent="-285750" algn="just">
              <a:buFont typeface="Wingdings" panose="05000000000000000000" pitchFamily="2" charset="2"/>
              <a:buChar char="§"/>
            </a:pPr>
            <a:endParaRPr lang="es-MX" sz="1600" dirty="0">
              <a:latin typeface="Aptos Display" panose="020B0004020202020204" pitchFamily="34" charset="0"/>
            </a:endParaRPr>
          </a:p>
          <a:p>
            <a:pPr marL="285750" indent="-285750" algn="just">
              <a:buFont typeface="Wingdings" panose="05000000000000000000" pitchFamily="2" charset="2"/>
              <a:buChar char="§"/>
            </a:pPr>
            <a:r>
              <a:rPr lang="es-MX" sz="1600" dirty="0">
                <a:latin typeface="Aptos Display" panose="020B0004020202020204" pitchFamily="34" charset="0"/>
              </a:rPr>
              <a:t>Al atraer proactivamente sus preferencias y valores, incluyendo flexibilidad, facilidad de uso y experiencias únicas, las empresas de propiedad vacacional pueden crear ofertas y estrategias de marketing mas efectivas, adaptadas a sus estilos de vida y expectativas únicas adaptando las nuevas realidades.</a:t>
            </a:r>
          </a:p>
          <a:p>
            <a:pPr algn="just"/>
            <a:endParaRPr lang="es-MX" sz="1600" dirty="0">
              <a:solidFill>
                <a:srgbClr val="111111"/>
              </a:solidFill>
              <a:highlight>
                <a:srgbClr val="FFFFFF"/>
              </a:highlight>
              <a:latin typeface="Aptos Display" panose="020B0004020202020204" pitchFamily="34" charset="0"/>
            </a:endParaRPr>
          </a:p>
          <a:p>
            <a:pPr marL="285750" indent="-285750" algn="just">
              <a:buFont typeface="Wingdings" panose="05000000000000000000" pitchFamily="2" charset="2"/>
              <a:buChar char="§"/>
            </a:pPr>
            <a:endParaRPr lang="es-MX" sz="1400" dirty="0">
              <a:solidFill>
                <a:srgbClr val="111111"/>
              </a:solidFill>
              <a:highlight>
                <a:srgbClr val="FFFFFF"/>
              </a:highlight>
              <a:latin typeface="Aptos Display" panose="020B0004020202020204" pitchFamily="34" charset="0"/>
            </a:endParaRPr>
          </a:p>
          <a:p>
            <a:pPr algn="just"/>
            <a:endParaRPr lang="es-MX" sz="1400" dirty="0">
              <a:solidFill>
                <a:srgbClr val="111111"/>
              </a:solidFill>
              <a:highlight>
                <a:srgbClr val="FFFFFF"/>
              </a:highlight>
              <a:latin typeface="Aptos Display" panose="020B0004020202020204" pitchFamily="34" charset="0"/>
            </a:endParaRPr>
          </a:p>
          <a:p>
            <a:pPr algn="just"/>
            <a:endParaRPr lang="es-MX" sz="1400" dirty="0">
              <a:solidFill>
                <a:srgbClr val="111111"/>
              </a:solidFill>
              <a:highlight>
                <a:srgbClr val="FFFFFF"/>
              </a:highlight>
              <a:latin typeface="Aptos Display" panose="020B0004020202020204" pitchFamily="34" charset="0"/>
            </a:endParaRPr>
          </a:p>
          <a:p>
            <a:pPr marL="742950" lvl="1" indent="-285750" algn="l">
              <a:buFont typeface="Arial" panose="020B0604020202020204" pitchFamily="34" charset="0"/>
              <a:buChar char="•"/>
            </a:pPr>
            <a:endParaRPr lang="es-MX" sz="1400" dirty="0">
              <a:solidFill>
                <a:srgbClr val="111111"/>
              </a:solidFill>
              <a:highlight>
                <a:srgbClr val="FFFFFF"/>
              </a:highlight>
              <a:latin typeface="Aptos Display" panose="020B0004020202020204" pitchFamily="34" charset="0"/>
            </a:endParaRPr>
          </a:p>
        </p:txBody>
      </p:sp>
      <p:sp>
        <p:nvSpPr>
          <p:cNvPr id="5" name="Text Placeholder 4">
            <a:extLst>
              <a:ext uri="{FF2B5EF4-FFF2-40B4-BE49-F238E27FC236}">
                <a16:creationId xmlns:a16="http://schemas.microsoft.com/office/drawing/2014/main" id="{538221A0-467B-9604-3827-3C4946F78295}"/>
              </a:ext>
            </a:extLst>
          </p:cNvPr>
          <p:cNvSpPr>
            <a:spLocks noGrp="1"/>
          </p:cNvSpPr>
          <p:nvPr>
            <p:ph type="body" sz="quarter" idx="15"/>
          </p:nvPr>
        </p:nvSpPr>
        <p:spPr>
          <a:xfrm>
            <a:off x="481101" y="383783"/>
            <a:ext cx="9236640" cy="993321"/>
          </a:xfrm>
        </p:spPr>
        <p:txBody>
          <a:bodyPr/>
          <a:lstStyle/>
          <a:p>
            <a:r>
              <a:rPr lang="es-MX" sz="2400" dirty="0"/>
              <a:t>Evolución al Futuro</a:t>
            </a:r>
          </a:p>
        </p:txBody>
      </p:sp>
      <p:sp>
        <p:nvSpPr>
          <p:cNvPr id="2" name="TextBox 1">
            <a:extLst>
              <a:ext uri="{FF2B5EF4-FFF2-40B4-BE49-F238E27FC236}">
                <a16:creationId xmlns:a16="http://schemas.microsoft.com/office/drawing/2014/main" id="{59857922-27F1-323F-0553-7F11B3065077}"/>
              </a:ext>
            </a:extLst>
          </p:cNvPr>
          <p:cNvSpPr txBox="1"/>
          <p:nvPr/>
        </p:nvSpPr>
        <p:spPr>
          <a:xfrm>
            <a:off x="1963271" y="6329083"/>
            <a:ext cx="7530352" cy="215444"/>
          </a:xfrm>
          <a:prstGeom prst="rect">
            <a:avLst/>
          </a:prstGeom>
          <a:noFill/>
        </p:spPr>
        <p:txBody>
          <a:bodyPr wrap="square" rtlCol="0">
            <a:spAutoFit/>
          </a:bodyPr>
          <a:lstStyle/>
          <a:p>
            <a:r>
              <a:rPr lang="es-MX" sz="800" i="1" dirty="0"/>
              <a:t>Fuente: ARDA/</a:t>
            </a:r>
            <a:r>
              <a:rPr lang="es-MX" sz="800" i="1" dirty="0" err="1"/>
              <a:t>Skift</a:t>
            </a:r>
            <a:r>
              <a:rPr lang="es-MX" sz="800" i="1" dirty="0"/>
              <a:t> -  </a:t>
            </a:r>
            <a:r>
              <a:rPr lang="es-MX" sz="800" i="1" dirty="0" err="1"/>
              <a:t>Navigating</a:t>
            </a:r>
            <a:r>
              <a:rPr lang="es-MX" sz="800" i="1" dirty="0"/>
              <a:t> </a:t>
            </a:r>
            <a:r>
              <a:rPr lang="es-MX" sz="800" i="1" dirty="0" err="1"/>
              <a:t>the</a:t>
            </a:r>
            <a:r>
              <a:rPr lang="es-MX" sz="800" i="1" dirty="0"/>
              <a:t> Future </a:t>
            </a:r>
            <a:r>
              <a:rPr lang="es-MX" sz="800" i="1" dirty="0" err="1"/>
              <a:t>of</a:t>
            </a:r>
            <a:r>
              <a:rPr lang="es-MX" sz="800" i="1" dirty="0"/>
              <a:t> </a:t>
            </a:r>
            <a:r>
              <a:rPr lang="es-MX" sz="800" i="1" dirty="0" err="1"/>
              <a:t>Timeshare</a:t>
            </a:r>
            <a:r>
              <a:rPr lang="es-MX" sz="800" i="1" dirty="0"/>
              <a:t>: </a:t>
            </a:r>
            <a:r>
              <a:rPr lang="es-MX" sz="800" i="1" dirty="0" err="1"/>
              <a:t>Trends</a:t>
            </a:r>
            <a:r>
              <a:rPr lang="es-MX" sz="800" i="1" dirty="0"/>
              <a:t>, </a:t>
            </a:r>
            <a:r>
              <a:rPr lang="es-MX" sz="800" i="1" dirty="0" err="1"/>
              <a:t>Opportunities</a:t>
            </a:r>
            <a:r>
              <a:rPr lang="es-MX" sz="800" i="1" dirty="0"/>
              <a:t> and </a:t>
            </a:r>
            <a:r>
              <a:rPr lang="es-MX" sz="800" i="1" dirty="0" err="1"/>
              <a:t>Insights</a:t>
            </a:r>
            <a:r>
              <a:rPr lang="es-MX" sz="800" i="1" dirty="0"/>
              <a:t> </a:t>
            </a:r>
            <a:r>
              <a:rPr lang="es-MX" sz="800" i="1" dirty="0" err="1"/>
              <a:t>for</a:t>
            </a:r>
            <a:r>
              <a:rPr lang="es-MX" sz="800" i="1" dirty="0"/>
              <a:t> </a:t>
            </a:r>
            <a:r>
              <a:rPr lang="es-MX" sz="800" i="1" dirty="0" err="1"/>
              <a:t>the</a:t>
            </a:r>
            <a:r>
              <a:rPr lang="es-MX" sz="800" i="1" dirty="0"/>
              <a:t> Vacation </a:t>
            </a:r>
            <a:r>
              <a:rPr lang="es-MX" sz="800" i="1" dirty="0" err="1"/>
              <a:t>Ownership</a:t>
            </a:r>
            <a:r>
              <a:rPr lang="es-MX" sz="800" i="1" dirty="0"/>
              <a:t> </a:t>
            </a:r>
            <a:r>
              <a:rPr lang="es-MX" sz="800" i="1" dirty="0" err="1"/>
              <a:t>Industry</a:t>
            </a:r>
            <a:r>
              <a:rPr lang="es-MX" sz="800" i="1" dirty="0"/>
              <a:t>. Septiembre 2024  </a:t>
            </a:r>
          </a:p>
        </p:txBody>
      </p:sp>
    </p:spTree>
    <p:extLst>
      <p:ext uri="{BB962C8B-B14F-4D97-AF65-F5344CB8AC3E}">
        <p14:creationId xmlns:p14="http://schemas.microsoft.com/office/powerpoint/2010/main" val="424541735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D83E2C12-6326-1F52-68A8-3A8477249EC3}"/>
              </a:ext>
            </a:extLst>
          </p:cNvPr>
          <p:cNvSpPr>
            <a:spLocks noGrp="1"/>
          </p:cNvSpPr>
          <p:nvPr>
            <p:ph type="body" sz="quarter" idx="15"/>
          </p:nvPr>
        </p:nvSpPr>
        <p:spPr>
          <a:xfrm>
            <a:off x="481101" y="383783"/>
            <a:ext cx="5068429" cy="993321"/>
          </a:xfrm>
        </p:spPr>
        <p:txBody>
          <a:bodyPr/>
          <a:lstStyle/>
          <a:p>
            <a:r>
              <a:rPr lang="es-MX" sz="2400" dirty="0"/>
              <a:t>Conclusiones</a:t>
            </a:r>
            <a:endParaRPr lang="es-MX" sz="2800" dirty="0"/>
          </a:p>
        </p:txBody>
      </p:sp>
      <p:sp>
        <p:nvSpPr>
          <p:cNvPr id="4" name="TextBox 3">
            <a:extLst>
              <a:ext uri="{FF2B5EF4-FFF2-40B4-BE49-F238E27FC236}">
                <a16:creationId xmlns:a16="http://schemas.microsoft.com/office/drawing/2014/main" id="{E7BC688C-A37A-965F-6C00-2E12194E1D30}"/>
              </a:ext>
            </a:extLst>
          </p:cNvPr>
          <p:cNvSpPr txBox="1"/>
          <p:nvPr/>
        </p:nvSpPr>
        <p:spPr>
          <a:xfrm>
            <a:off x="481101" y="2053463"/>
            <a:ext cx="11288404" cy="369332"/>
          </a:xfrm>
          <a:prstGeom prst="rect">
            <a:avLst/>
          </a:prstGeom>
          <a:noFill/>
        </p:spPr>
        <p:txBody>
          <a:bodyPr wrap="square">
            <a:spAutoFit/>
          </a:bodyPr>
          <a:lstStyle/>
          <a:p>
            <a:pPr algn="l">
              <a:buFont typeface="+mj-lt"/>
              <a:buAutoNum type="arabicPeriod"/>
            </a:pPr>
            <a:endParaRPr lang="es-MX" b="0" i="0" dirty="0">
              <a:solidFill>
                <a:srgbClr val="111111"/>
              </a:solidFill>
              <a:effectLst/>
              <a:highlight>
                <a:srgbClr val="F7F7F7"/>
              </a:highlight>
              <a:latin typeface="-apple-system"/>
            </a:endParaRPr>
          </a:p>
        </p:txBody>
      </p:sp>
      <p:sp>
        <p:nvSpPr>
          <p:cNvPr id="6" name="TextBox 5">
            <a:extLst>
              <a:ext uri="{FF2B5EF4-FFF2-40B4-BE49-F238E27FC236}">
                <a16:creationId xmlns:a16="http://schemas.microsoft.com/office/drawing/2014/main" id="{7222801B-16E7-1820-BC06-F4303D7BC457}"/>
              </a:ext>
            </a:extLst>
          </p:cNvPr>
          <p:cNvSpPr txBox="1"/>
          <p:nvPr/>
        </p:nvSpPr>
        <p:spPr>
          <a:xfrm>
            <a:off x="481101" y="1602557"/>
            <a:ext cx="10358349" cy="4185761"/>
          </a:xfrm>
          <a:prstGeom prst="rect">
            <a:avLst/>
          </a:prstGeom>
          <a:noFill/>
        </p:spPr>
        <p:txBody>
          <a:bodyPr wrap="square">
            <a:spAutoFit/>
          </a:bodyPr>
          <a:lstStyle/>
          <a:p>
            <a:pPr algn="just"/>
            <a:r>
              <a:rPr lang="es-MX" sz="1400" dirty="0">
                <a:latin typeface="Aptos Display" panose="020B0004020202020204" pitchFamily="34" charset="0"/>
              </a:rPr>
              <a:t>Puntos clave sobre las tendencias y comportamiento del tiempo compartido y la propiedad vacacional en México:</a:t>
            </a:r>
          </a:p>
          <a:p>
            <a:pPr algn="just"/>
            <a:endParaRPr lang="es-MX" sz="1400" dirty="0">
              <a:latin typeface="Aptos Display" panose="020B0004020202020204" pitchFamily="34" charset="0"/>
            </a:endParaRPr>
          </a:p>
          <a:p>
            <a:pPr algn="just"/>
            <a:endParaRPr lang="es-MX" sz="1400" dirty="0">
              <a:latin typeface="Aptos Display" panose="020B0004020202020204" pitchFamily="34" charset="0"/>
            </a:endParaRPr>
          </a:p>
          <a:p>
            <a:pPr algn="just"/>
            <a:r>
              <a:rPr lang="es-MX" sz="1400" b="1" dirty="0">
                <a:latin typeface="Aptos Display" panose="020B0004020202020204" pitchFamily="34" charset="0"/>
              </a:rPr>
              <a:t>Crecimiento y Demanda: 		</a:t>
            </a:r>
            <a:r>
              <a:rPr lang="es-MX" sz="1400" dirty="0">
                <a:latin typeface="Aptos Display" panose="020B0004020202020204" pitchFamily="34" charset="0"/>
              </a:rPr>
              <a:t>El mercado de tiempo compartido y propiedad vacacional en México está en crecimiento, 					con un aumento proyectado en ventas y una alta demanda tanto de turistas nacionales 					como internacionales. </a:t>
            </a:r>
          </a:p>
          <a:p>
            <a:pPr algn="just"/>
            <a:endParaRPr lang="es-MX" sz="1400" dirty="0">
              <a:latin typeface="Aptos Display" panose="020B0004020202020204" pitchFamily="34" charset="0"/>
            </a:endParaRPr>
          </a:p>
          <a:p>
            <a:pPr algn="just"/>
            <a:r>
              <a:rPr lang="es-MX" sz="1400" b="1" dirty="0">
                <a:latin typeface="Aptos Display" panose="020B0004020202020204" pitchFamily="34" charset="0"/>
              </a:rPr>
              <a:t>Perfil de los Propietarios: 		</a:t>
            </a:r>
            <a:r>
              <a:rPr lang="es-MX" sz="1400" dirty="0">
                <a:latin typeface="Aptos Display" panose="020B0004020202020204" pitchFamily="34" charset="0"/>
              </a:rPr>
              <a:t>Los compradores recientes de tiempos compartidos tienden a ser más jóvenes, con 					mejores ingresos, mas estabilidad , casados con hijos y altamente educados. </a:t>
            </a:r>
          </a:p>
          <a:p>
            <a:pPr algn="just"/>
            <a:endParaRPr lang="es-MX" sz="1400" dirty="0">
              <a:latin typeface="Aptos Display" panose="020B0004020202020204" pitchFamily="34" charset="0"/>
            </a:endParaRPr>
          </a:p>
          <a:p>
            <a:pPr algn="just"/>
            <a:r>
              <a:rPr lang="es-MX" sz="1400" b="1" dirty="0">
                <a:latin typeface="Aptos Display" panose="020B0004020202020204" pitchFamily="34" charset="0"/>
              </a:rPr>
              <a:t>Preferencias de Viaje: 			</a:t>
            </a:r>
            <a:r>
              <a:rPr lang="es-MX" sz="1400" dirty="0">
                <a:latin typeface="Aptos Display" panose="020B0004020202020204" pitchFamily="34" charset="0"/>
              </a:rPr>
              <a:t>La Generación Z y los </a:t>
            </a:r>
            <a:r>
              <a:rPr lang="es-MX" sz="1400" dirty="0" err="1">
                <a:latin typeface="Aptos Display" panose="020B0004020202020204" pitchFamily="34" charset="0"/>
              </a:rPr>
              <a:t>Millennials</a:t>
            </a:r>
            <a:r>
              <a:rPr lang="es-MX" sz="1400" dirty="0">
                <a:latin typeface="Aptos Display" panose="020B0004020202020204" pitchFamily="34" charset="0"/>
              </a:rPr>
              <a:t>, que representan una gran parte de los propietarios de 					tiempo compartido, valoran la flexibilidad, la facilidad de uso y las experiencias únicas. </a:t>
            </a:r>
          </a:p>
          <a:p>
            <a:pPr algn="just"/>
            <a:endParaRPr lang="es-MX" sz="1400" dirty="0">
              <a:latin typeface="Aptos Display" panose="020B0004020202020204" pitchFamily="34" charset="0"/>
            </a:endParaRPr>
          </a:p>
          <a:p>
            <a:pPr algn="just"/>
            <a:r>
              <a:rPr lang="es-MX" sz="1400" b="1" dirty="0">
                <a:latin typeface="Aptos Display" panose="020B0004020202020204" pitchFamily="34" charset="0"/>
              </a:rPr>
              <a:t>Innovación y Tecnología: 		</a:t>
            </a:r>
            <a:r>
              <a:rPr lang="es-MX" sz="1400" dirty="0">
                <a:latin typeface="Aptos Display" panose="020B0004020202020204" pitchFamily="34" charset="0"/>
              </a:rPr>
              <a:t>La industria está enfocada en mejorar la experiencia del usuario a través de la tecnología y 				la transformación digital. </a:t>
            </a:r>
          </a:p>
          <a:p>
            <a:pPr algn="just"/>
            <a:endParaRPr lang="es-MX" sz="1400" dirty="0">
              <a:latin typeface="Aptos Display" panose="020B0004020202020204" pitchFamily="34" charset="0"/>
            </a:endParaRPr>
          </a:p>
          <a:p>
            <a:pPr algn="just"/>
            <a:r>
              <a:rPr lang="es-ES" sz="1400" b="1" dirty="0">
                <a:latin typeface="Aptos Display" panose="020B0004020202020204" pitchFamily="34" charset="0"/>
              </a:rPr>
              <a:t>El formato </a:t>
            </a:r>
            <a:r>
              <a:rPr lang="es-ES" sz="1400" b="1" i="1" dirty="0">
                <a:latin typeface="Aptos Display" panose="020B0004020202020204" pitchFamily="34" charset="0"/>
              </a:rPr>
              <a:t>todo incluido: 		</a:t>
            </a:r>
            <a:r>
              <a:rPr lang="es-ES" sz="1400" dirty="0">
                <a:latin typeface="Aptos Display" panose="020B0004020202020204" pitchFamily="34" charset="0"/>
              </a:rPr>
              <a:t>Sigue siendo uno de los más buscados a nivel global, y en particular en México y el Caribe. 				Plataformas digitales han reportado un crecimiento del 60% en la utilización del filtro de 					</a:t>
            </a:r>
            <a:r>
              <a:rPr lang="es-ES" sz="1400" i="1" u="sng" dirty="0">
                <a:latin typeface="Aptos Display" panose="020B0004020202020204" pitchFamily="34" charset="0"/>
              </a:rPr>
              <a:t>“</a:t>
            </a:r>
            <a:r>
              <a:rPr lang="es-ES" sz="1400" i="1" u="sng" dirty="0" err="1">
                <a:latin typeface="Aptos Display" panose="020B0004020202020204" pitchFamily="34" charset="0"/>
              </a:rPr>
              <a:t>All</a:t>
            </a:r>
            <a:r>
              <a:rPr lang="es-ES" sz="1400" i="1" u="sng" dirty="0">
                <a:latin typeface="Aptos Display" panose="020B0004020202020204" pitchFamily="34" charset="0"/>
              </a:rPr>
              <a:t> Inclusive</a:t>
            </a:r>
            <a:r>
              <a:rPr lang="es-ES" sz="1400" b="1" dirty="0">
                <a:latin typeface="Aptos Display" panose="020B0004020202020204" pitchFamily="34" charset="0"/>
              </a:rPr>
              <a:t>” </a:t>
            </a:r>
            <a:r>
              <a:rPr lang="es-ES" sz="1400" dirty="0">
                <a:latin typeface="Aptos Display" panose="020B0004020202020204" pitchFamily="34" charset="0"/>
              </a:rPr>
              <a:t>al momento de buscar hospedaje. </a:t>
            </a:r>
            <a:endParaRPr lang="es-MX" sz="1400" dirty="0">
              <a:latin typeface="Aptos Display" panose="020B0004020202020204" pitchFamily="34" charset="0"/>
            </a:endParaRPr>
          </a:p>
        </p:txBody>
      </p:sp>
    </p:spTree>
    <p:extLst>
      <p:ext uri="{BB962C8B-B14F-4D97-AF65-F5344CB8AC3E}">
        <p14:creationId xmlns:p14="http://schemas.microsoft.com/office/powerpoint/2010/main" val="112848654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7ED861-543E-AE9E-795E-09A08CAE9629}"/>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A5F9675D-0854-5752-8280-980958087BD7}"/>
              </a:ext>
            </a:extLst>
          </p:cNvPr>
          <p:cNvPicPr>
            <a:picLocks noChangeAspect="1"/>
          </p:cNvPicPr>
          <p:nvPr/>
        </p:nvPicPr>
        <p:blipFill>
          <a:blip r:embed="rId2">
            <a:alphaModFix amt="20000"/>
          </a:blip>
          <a:stretch>
            <a:fillRect/>
          </a:stretch>
        </p:blipFill>
        <p:spPr>
          <a:xfrm>
            <a:off x="16603" y="-12700"/>
            <a:ext cx="12192000" cy="6870700"/>
          </a:xfrm>
          <a:prstGeom prst="rect">
            <a:avLst/>
          </a:prstGeom>
        </p:spPr>
      </p:pic>
      <p:sp>
        <p:nvSpPr>
          <p:cNvPr id="4" name="TextBox 3">
            <a:extLst>
              <a:ext uri="{FF2B5EF4-FFF2-40B4-BE49-F238E27FC236}">
                <a16:creationId xmlns:a16="http://schemas.microsoft.com/office/drawing/2014/main" id="{3B45BF1C-AFA0-FB2F-4D2F-C46AC772C7E9}"/>
              </a:ext>
            </a:extLst>
          </p:cNvPr>
          <p:cNvSpPr txBox="1"/>
          <p:nvPr/>
        </p:nvSpPr>
        <p:spPr>
          <a:xfrm>
            <a:off x="481101" y="2053463"/>
            <a:ext cx="11288404" cy="369332"/>
          </a:xfrm>
          <a:prstGeom prst="rect">
            <a:avLst/>
          </a:prstGeom>
          <a:noFill/>
        </p:spPr>
        <p:txBody>
          <a:bodyPr wrap="square">
            <a:spAutoFit/>
          </a:bodyPr>
          <a:lstStyle/>
          <a:p>
            <a:pPr algn="l">
              <a:buFont typeface="+mj-lt"/>
              <a:buAutoNum type="arabicPeriod"/>
            </a:pPr>
            <a:endParaRPr lang="es-MX" b="0" i="0" dirty="0">
              <a:solidFill>
                <a:srgbClr val="111111"/>
              </a:solidFill>
              <a:effectLst/>
              <a:highlight>
                <a:srgbClr val="F7F7F7"/>
              </a:highlight>
              <a:latin typeface="-apple-system"/>
            </a:endParaRPr>
          </a:p>
        </p:txBody>
      </p:sp>
      <p:sp>
        <p:nvSpPr>
          <p:cNvPr id="6" name="TextBox 5">
            <a:extLst>
              <a:ext uri="{FF2B5EF4-FFF2-40B4-BE49-F238E27FC236}">
                <a16:creationId xmlns:a16="http://schemas.microsoft.com/office/drawing/2014/main" id="{898B73AD-F62F-71F3-E32F-768C93FAAF1A}"/>
              </a:ext>
            </a:extLst>
          </p:cNvPr>
          <p:cNvSpPr txBox="1"/>
          <p:nvPr/>
        </p:nvSpPr>
        <p:spPr>
          <a:xfrm>
            <a:off x="966216" y="2921168"/>
            <a:ext cx="10259568" cy="1015663"/>
          </a:xfrm>
          <a:prstGeom prst="rect">
            <a:avLst/>
          </a:prstGeom>
          <a:noFill/>
        </p:spPr>
        <p:txBody>
          <a:bodyPr wrap="square">
            <a:spAutoFit/>
          </a:bodyPr>
          <a:lstStyle/>
          <a:p>
            <a:pPr algn="ctr"/>
            <a:r>
              <a:rPr lang="es-ES" sz="2000" b="1" i="0" dirty="0">
                <a:solidFill>
                  <a:srgbClr val="0A0A0A"/>
                </a:solidFill>
                <a:effectLst/>
              </a:rPr>
              <a:t>En resumen, el futuro del club vacacional reside en la capacidad de </a:t>
            </a:r>
            <a:r>
              <a:rPr lang="es-ES" sz="2000" b="1" i="1" dirty="0">
                <a:solidFill>
                  <a:srgbClr val="002060"/>
                </a:solidFill>
                <a:effectLst/>
              </a:rPr>
              <a:t>ser un servicio</a:t>
            </a:r>
            <a:r>
              <a:rPr lang="es-ES" sz="2000" b="1" i="0" dirty="0">
                <a:solidFill>
                  <a:srgbClr val="0A0A0A"/>
                </a:solidFill>
                <a:effectLst/>
              </a:rPr>
              <a:t>, no solo una propiedad, que se adapte constantemente a las necesidades de un viajero más exigente, consciente y digitalmente conectado.</a:t>
            </a:r>
            <a:endParaRPr lang="en-US" sz="2000" b="1" dirty="0"/>
          </a:p>
        </p:txBody>
      </p:sp>
      <p:sp>
        <p:nvSpPr>
          <p:cNvPr id="12" name="Marcador de texto 1">
            <a:extLst>
              <a:ext uri="{FF2B5EF4-FFF2-40B4-BE49-F238E27FC236}">
                <a16:creationId xmlns:a16="http://schemas.microsoft.com/office/drawing/2014/main" id="{3926DCE4-2E00-3BB0-A1A6-AFACA7A5FB5D}"/>
              </a:ext>
            </a:extLst>
          </p:cNvPr>
          <p:cNvSpPr>
            <a:spLocks noGrp="1"/>
          </p:cNvSpPr>
          <p:nvPr>
            <p:ph type="body" sz="quarter" idx="15"/>
          </p:nvPr>
        </p:nvSpPr>
        <p:spPr>
          <a:xfrm>
            <a:off x="481101" y="383783"/>
            <a:ext cx="5068429" cy="993321"/>
          </a:xfrm>
        </p:spPr>
        <p:txBody>
          <a:bodyPr/>
          <a:lstStyle/>
          <a:p>
            <a:r>
              <a:rPr lang="es-MX" sz="2400" dirty="0"/>
              <a:t>Conclusiones</a:t>
            </a:r>
            <a:endParaRPr lang="es-MX" sz="2800" dirty="0"/>
          </a:p>
        </p:txBody>
      </p:sp>
    </p:spTree>
    <p:extLst>
      <p:ext uri="{BB962C8B-B14F-4D97-AF65-F5344CB8AC3E}">
        <p14:creationId xmlns:p14="http://schemas.microsoft.com/office/powerpoint/2010/main" val="43655303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1">
            <a:extLst>
              <a:ext uri="{FF2B5EF4-FFF2-40B4-BE49-F238E27FC236}">
                <a16:creationId xmlns:a16="http://schemas.microsoft.com/office/drawing/2014/main" id="{CCE8A45E-52AA-9514-92A2-EC35F40FB8B6}"/>
              </a:ext>
            </a:extLst>
          </p:cNvPr>
          <p:cNvSpPr txBox="1">
            <a:spLocks/>
          </p:cNvSpPr>
          <p:nvPr/>
        </p:nvSpPr>
        <p:spPr>
          <a:xfrm>
            <a:off x="-2637345" y="2920786"/>
            <a:ext cx="10085387" cy="2484438"/>
          </a:xfrm>
          <a:prstGeom prst="rect">
            <a:avLst/>
          </a:prstGeom>
        </p:spPr>
        <p:txBody>
          <a:bodyPr/>
          <a:lstStyle>
            <a:lvl1pPr marL="0" indent="0" algn="ctr" defTabSz="914400" rtl="0" eaLnBrk="1" latinLnBrk="0" hangingPunct="1">
              <a:lnSpc>
                <a:spcPct val="90000"/>
              </a:lnSpc>
              <a:spcBef>
                <a:spcPts val="1000"/>
              </a:spcBef>
              <a:buFont typeface="Arial" panose="020B0604020202020204" pitchFamily="34" charset="0"/>
              <a:buNone/>
              <a:defRPr sz="1800" kern="1200">
                <a:solidFill>
                  <a:schemeClr val="bg1"/>
                </a:solidFill>
                <a:latin typeface="Poppins" panose="00000500000000000000" pitchFamily="2" charset="0"/>
                <a:ea typeface="+mn-ea"/>
                <a:cs typeface="Poppins" panose="000005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MX" sz="5400" dirty="0"/>
              <a:t>Gracias</a:t>
            </a:r>
          </a:p>
        </p:txBody>
      </p:sp>
    </p:spTree>
    <p:extLst>
      <p:ext uri="{BB962C8B-B14F-4D97-AF65-F5344CB8AC3E}">
        <p14:creationId xmlns:p14="http://schemas.microsoft.com/office/powerpoint/2010/main" val="294797047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187647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B2A1EAAA-E3D9-351B-4DBA-C8268B2AB42C}"/>
              </a:ext>
            </a:extLst>
          </p:cNvPr>
          <p:cNvSpPr>
            <a:spLocks noGrp="1"/>
          </p:cNvSpPr>
          <p:nvPr>
            <p:ph type="body" sz="quarter" idx="10"/>
          </p:nvPr>
        </p:nvSpPr>
        <p:spPr/>
        <p:txBody>
          <a:bodyPr/>
          <a:lstStyle/>
          <a:p>
            <a:endParaRPr lang="es-MX"/>
          </a:p>
        </p:txBody>
      </p:sp>
    </p:spTree>
    <p:extLst>
      <p:ext uri="{BB962C8B-B14F-4D97-AF65-F5344CB8AC3E}">
        <p14:creationId xmlns:p14="http://schemas.microsoft.com/office/powerpoint/2010/main" val="13960917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5C6B0B-FABC-0481-FD45-54859B2DF810}"/>
            </a:ext>
          </a:extLst>
        </p:cNvPr>
        <p:cNvGrpSpPr/>
        <p:nvPr/>
      </p:nvGrpSpPr>
      <p:grpSpPr>
        <a:xfrm>
          <a:off x="0" y="0"/>
          <a:ext cx="0" cy="0"/>
          <a:chOff x="0" y="0"/>
          <a:chExt cx="0" cy="0"/>
        </a:xfrm>
      </p:grpSpPr>
      <p:sp>
        <p:nvSpPr>
          <p:cNvPr id="2" name="Marcador de texto 1">
            <a:extLst>
              <a:ext uri="{FF2B5EF4-FFF2-40B4-BE49-F238E27FC236}">
                <a16:creationId xmlns:a16="http://schemas.microsoft.com/office/drawing/2014/main" id="{40E7C1EC-640F-AA38-1FBC-02E6378ED8E7}"/>
              </a:ext>
            </a:extLst>
          </p:cNvPr>
          <p:cNvSpPr>
            <a:spLocks noGrp="1"/>
          </p:cNvSpPr>
          <p:nvPr>
            <p:ph type="body" sz="quarter" idx="15"/>
          </p:nvPr>
        </p:nvSpPr>
        <p:spPr/>
        <p:txBody>
          <a:bodyPr/>
          <a:lstStyle/>
          <a:p>
            <a:r>
              <a:rPr lang="es-MX" sz="2400" dirty="0"/>
              <a:t>Tendencias</a:t>
            </a:r>
          </a:p>
        </p:txBody>
      </p:sp>
      <p:sp>
        <p:nvSpPr>
          <p:cNvPr id="4" name="TextBox 3">
            <a:extLst>
              <a:ext uri="{FF2B5EF4-FFF2-40B4-BE49-F238E27FC236}">
                <a16:creationId xmlns:a16="http://schemas.microsoft.com/office/drawing/2014/main" id="{AE82DFBC-052C-EB93-8796-D322AA14EB2A}"/>
              </a:ext>
            </a:extLst>
          </p:cNvPr>
          <p:cNvSpPr txBox="1"/>
          <p:nvPr/>
        </p:nvSpPr>
        <p:spPr>
          <a:xfrm>
            <a:off x="481101" y="2053463"/>
            <a:ext cx="11288404" cy="369332"/>
          </a:xfrm>
          <a:prstGeom prst="rect">
            <a:avLst/>
          </a:prstGeom>
          <a:noFill/>
        </p:spPr>
        <p:txBody>
          <a:bodyPr wrap="square">
            <a:spAutoFit/>
          </a:bodyPr>
          <a:lstStyle/>
          <a:p>
            <a:pPr algn="l">
              <a:buFont typeface="+mj-lt"/>
              <a:buAutoNum type="arabicPeriod"/>
            </a:pPr>
            <a:endParaRPr lang="es-MX" b="0" i="0" dirty="0">
              <a:solidFill>
                <a:srgbClr val="111111"/>
              </a:solidFill>
              <a:effectLst/>
              <a:highlight>
                <a:srgbClr val="F7F7F7"/>
              </a:highlight>
              <a:latin typeface="-apple-system"/>
            </a:endParaRPr>
          </a:p>
        </p:txBody>
      </p:sp>
      <p:sp>
        <p:nvSpPr>
          <p:cNvPr id="6" name="TextBox 5">
            <a:extLst>
              <a:ext uri="{FF2B5EF4-FFF2-40B4-BE49-F238E27FC236}">
                <a16:creationId xmlns:a16="http://schemas.microsoft.com/office/drawing/2014/main" id="{DE811C9E-DC73-C0AC-048D-CAD48354058D}"/>
              </a:ext>
            </a:extLst>
          </p:cNvPr>
          <p:cNvSpPr txBox="1"/>
          <p:nvPr/>
        </p:nvSpPr>
        <p:spPr>
          <a:xfrm>
            <a:off x="765944" y="2238129"/>
            <a:ext cx="11288404" cy="2400657"/>
          </a:xfrm>
          <a:prstGeom prst="rect">
            <a:avLst/>
          </a:prstGeom>
          <a:noFill/>
        </p:spPr>
        <p:txBody>
          <a:bodyPr wrap="square">
            <a:spAutoFit/>
          </a:bodyPr>
          <a:lstStyle/>
          <a:p>
            <a:endParaRPr lang="en-US" sz="1500" dirty="0">
              <a:latin typeface="Aptos Display" panose="020B0004020202020204" pitchFamily="34" charset="0"/>
            </a:endParaRPr>
          </a:p>
          <a:p>
            <a:endParaRPr lang="en-US" sz="1500" dirty="0">
              <a:latin typeface="Aptos Display" panose="020B0004020202020204" pitchFamily="34" charset="0"/>
            </a:endParaRPr>
          </a:p>
          <a:p>
            <a:pPr lvl="0"/>
            <a:r>
              <a:rPr lang="en-US" sz="1500" b="1" dirty="0" err="1">
                <a:latin typeface="Aptos Display" panose="020B0004020202020204" pitchFamily="34" charset="0"/>
              </a:rPr>
              <a:t>Crecimiento</a:t>
            </a:r>
            <a:r>
              <a:rPr lang="en-US" sz="1500" b="1" dirty="0">
                <a:latin typeface="Aptos Display" panose="020B0004020202020204" pitchFamily="34" charset="0"/>
              </a:rPr>
              <a:t> </a:t>
            </a:r>
            <a:r>
              <a:rPr lang="en-US" sz="1500" b="1" dirty="0" err="1">
                <a:latin typeface="Aptos Display" panose="020B0004020202020204" pitchFamily="34" charset="0"/>
              </a:rPr>
              <a:t>sólido</a:t>
            </a:r>
            <a:r>
              <a:rPr lang="en-US" sz="1500" b="1" dirty="0">
                <a:latin typeface="Aptos Display" panose="020B0004020202020204" pitchFamily="34" charset="0"/>
              </a:rPr>
              <a:t>:</a:t>
            </a:r>
            <a:r>
              <a:rPr lang="en-US" sz="1500" dirty="0">
                <a:latin typeface="Aptos Display" panose="020B0004020202020204" pitchFamily="34" charset="0"/>
              </a:rPr>
              <a:t> </a:t>
            </a:r>
          </a:p>
          <a:p>
            <a:r>
              <a:rPr lang="es-MX" sz="1500" dirty="0">
                <a:latin typeface="Aptos Display" panose="020B0004020202020204" pitchFamily="34" charset="0"/>
              </a:rPr>
              <a:t>Se proyecta un crecimiento continuo para la propiedad vacacional</a:t>
            </a:r>
          </a:p>
          <a:p>
            <a:endParaRPr lang="en-US" sz="1500" dirty="0">
              <a:latin typeface="Aptos Display" panose="020B0004020202020204" pitchFamily="34" charset="0"/>
            </a:endParaRPr>
          </a:p>
          <a:p>
            <a:pPr lvl="0"/>
            <a:r>
              <a:rPr lang="en-US" sz="1500" b="1" dirty="0">
                <a:latin typeface="Aptos Display" panose="020B0004020202020204" pitchFamily="34" charset="0"/>
              </a:rPr>
              <a:t>Motor </a:t>
            </a:r>
            <a:r>
              <a:rPr lang="en-US" sz="1500" b="1" dirty="0" err="1">
                <a:latin typeface="Aptos Display" panose="020B0004020202020204" pitchFamily="34" charset="0"/>
              </a:rPr>
              <a:t>económico</a:t>
            </a:r>
            <a:r>
              <a:rPr lang="en-US" sz="1500" b="1" dirty="0">
                <a:latin typeface="Aptos Display" panose="020B0004020202020204" pitchFamily="34" charset="0"/>
              </a:rPr>
              <a:t>:</a:t>
            </a:r>
            <a:r>
              <a:rPr lang="en-US" sz="1500" dirty="0">
                <a:latin typeface="Aptos Display" panose="020B0004020202020204" pitchFamily="34" charset="0"/>
              </a:rPr>
              <a:t> </a:t>
            </a:r>
          </a:p>
          <a:p>
            <a:r>
              <a:rPr lang="es-MX" sz="1500" dirty="0">
                <a:latin typeface="Aptos Display" panose="020B0004020202020204" pitchFamily="34" charset="0"/>
              </a:rPr>
              <a:t>La propiedad vacacional es un pilar para el turismo en México</a:t>
            </a:r>
          </a:p>
          <a:p>
            <a:endParaRPr lang="en-US" sz="1500" dirty="0">
              <a:latin typeface="Aptos Display" panose="020B0004020202020204" pitchFamily="34" charset="0"/>
            </a:endParaRPr>
          </a:p>
          <a:p>
            <a:pPr lvl="0"/>
            <a:r>
              <a:rPr lang="en-US" sz="1500" b="1" dirty="0" err="1">
                <a:latin typeface="Aptos Display" panose="020B0004020202020204" pitchFamily="34" charset="0"/>
              </a:rPr>
              <a:t>Adaptación</a:t>
            </a:r>
            <a:r>
              <a:rPr lang="en-US" sz="1500" b="1" dirty="0">
                <a:latin typeface="Aptos Display" panose="020B0004020202020204" pitchFamily="34" charset="0"/>
              </a:rPr>
              <a:t> es clave:</a:t>
            </a:r>
            <a:r>
              <a:rPr lang="en-US" sz="1500" dirty="0">
                <a:latin typeface="Aptos Display" panose="020B0004020202020204" pitchFamily="34" charset="0"/>
              </a:rPr>
              <a:t> </a:t>
            </a:r>
          </a:p>
          <a:p>
            <a:r>
              <a:rPr lang="es-MX" sz="1500" dirty="0">
                <a:latin typeface="Aptos Display" panose="020B0004020202020204" pitchFamily="34" charset="0"/>
              </a:rPr>
              <a:t>Continua innovación en  productos y estrategias para responder a las demandas cambiantes de los consumidores y a las tendencias globales </a:t>
            </a:r>
          </a:p>
        </p:txBody>
      </p:sp>
      <p:pic>
        <p:nvPicPr>
          <p:cNvPr id="5" name="Picture 4">
            <a:extLst>
              <a:ext uri="{FF2B5EF4-FFF2-40B4-BE49-F238E27FC236}">
                <a16:creationId xmlns:a16="http://schemas.microsoft.com/office/drawing/2014/main" id="{EFCAA386-D55F-4906-DE76-9B2BA1376AA5}"/>
              </a:ext>
            </a:extLst>
          </p:cNvPr>
          <p:cNvPicPr>
            <a:picLocks noChangeAspect="1"/>
          </p:cNvPicPr>
          <p:nvPr/>
        </p:nvPicPr>
        <p:blipFill>
          <a:blip r:embed="rId2">
            <a:alphaModFix amt="10000"/>
          </a:blip>
          <a:stretch>
            <a:fillRect/>
          </a:stretch>
        </p:blipFill>
        <p:spPr>
          <a:xfrm>
            <a:off x="2200596" y="581810"/>
            <a:ext cx="8000000" cy="6276190"/>
          </a:xfrm>
          <a:prstGeom prst="rect">
            <a:avLst/>
          </a:prstGeom>
        </p:spPr>
      </p:pic>
      <p:sp>
        <p:nvSpPr>
          <p:cNvPr id="8" name="TextBox 7">
            <a:extLst>
              <a:ext uri="{FF2B5EF4-FFF2-40B4-BE49-F238E27FC236}">
                <a16:creationId xmlns:a16="http://schemas.microsoft.com/office/drawing/2014/main" id="{8B65807B-C6E8-1FA3-362A-D24871AFAE14}"/>
              </a:ext>
            </a:extLst>
          </p:cNvPr>
          <p:cNvSpPr txBox="1"/>
          <p:nvPr/>
        </p:nvSpPr>
        <p:spPr>
          <a:xfrm>
            <a:off x="503610" y="1590490"/>
            <a:ext cx="6138862" cy="369332"/>
          </a:xfrm>
          <a:prstGeom prst="rect">
            <a:avLst/>
          </a:prstGeom>
          <a:noFill/>
        </p:spPr>
        <p:txBody>
          <a:bodyPr wrap="square">
            <a:spAutoFit/>
          </a:bodyPr>
          <a:lstStyle/>
          <a:p>
            <a:r>
              <a:rPr lang="en-US" sz="1800" b="1" dirty="0" err="1">
                <a:latin typeface="Aptos Display" panose="020B0004020202020204" pitchFamily="34" charset="0"/>
              </a:rPr>
              <a:t>Perspectivas</a:t>
            </a:r>
            <a:r>
              <a:rPr lang="en-US" sz="1800" b="1" dirty="0">
                <a:latin typeface="Aptos Display" panose="020B0004020202020204" pitchFamily="34" charset="0"/>
              </a:rPr>
              <a:t> a </a:t>
            </a:r>
            <a:r>
              <a:rPr lang="en-US" sz="1800" b="1" dirty="0" err="1">
                <a:latin typeface="Aptos Display" panose="020B0004020202020204" pitchFamily="34" charset="0"/>
              </a:rPr>
              <a:t>futuro</a:t>
            </a:r>
            <a:endParaRPr lang="en-US" sz="1800" b="1" dirty="0">
              <a:latin typeface="Aptos Display" panose="020B0004020202020204" pitchFamily="34" charset="0"/>
            </a:endParaRPr>
          </a:p>
        </p:txBody>
      </p:sp>
    </p:spTree>
    <p:extLst>
      <p:ext uri="{BB962C8B-B14F-4D97-AF65-F5344CB8AC3E}">
        <p14:creationId xmlns:p14="http://schemas.microsoft.com/office/powerpoint/2010/main" val="6678747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D719F8-F1A0-790B-B26F-47527E1FF9AC}"/>
            </a:ext>
          </a:extLst>
        </p:cNvPr>
        <p:cNvGrpSpPr/>
        <p:nvPr/>
      </p:nvGrpSpPr>
      <p:grpSpPr>
        <a:xfrm>
          <a:off x="0" y="0"/>
          <a:ext cx="0" cy="0"/>
          <a:chOff x="0" y="0"/>
          <a:chExt cx="0" cy="0"/>
        </a:xfrm>
      </p:grpSpPr>
      <p:sp>
        <p:nvSpPr>
          <p:cNvPr id="3" name="Rectangle: Top Corners One Rounded and One Snipped 2">
            <a:extLst>
              <a:ext uri="{FF2B5EF4-FFF2-40B4-BE49-F238E27FC236}">
                <a16:creationId xmlns:a16="http://schemas.microsoft.com/office/drawing/2014/main" id="{FF4C3F68-345A-DAA4-7BE6-3DB7B14824E6}"/>
              </a:ext>
            </a:extLst>
          </p:cNvPr>
          <p:cNvSpPr/>
          <p:nvPr/>
        </p:nvSpPr>
        <p:spPr>
          <a:xfrm>
            <a:off x="1095376" y="1602557"/>
            <a:ext cx="2171700" cy="2219325"/>
          </a:xfrm>
          <a:prstGeom prst="snipRoundRect">
            <a:avLst/>
          </a:prstGeom>
          <a:solidFill>
            <a:srgbClr val="014B7F">
              <a:alpha val="3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400" b="1" dirty="0">
                <a:solidFill>
                  <a:schemeClr val="tx1"/>
                </a:solidFill>
                <a:latin typeface="Aptos Display" panose="020B0004020202020204" pitchFamily="34" charset="0"/>
              </a:rPr>
              <a:t>Crecimiento en ventas </a:t>
            </a:r>
          </a:p>
          <a:p>
            <a:pPr algn="ctr"/>
            <a:endParaRPr lang="es-MX" sz="1400" b="1" dirty="0">
              <a:solidFill>
                <a:schemeClr val="tx1"/>
              </a:solidFill>
              <a:latin typeface="Aptos Display" panose="020B0004020202020204" pitchFamily="34" charset="0"/>
            </a:endParaRPr>
          </a:p>
          <a:p>
            <a:pPr algn="ctr"/>
            <a:r>
              <a:rPr lang="es-MX" sz="1300" dirty="0">
                <a:solidFill>
                  <a:schemeClr val="tx1"/>
                </a:solidFill>
                <a:latin typeface="Aptos Display" panose="020B0004020202020204" pitchFamily="34" charset="0"/>
              </a:rPr>
              <a:t>México es el segundo país a nivel mundial en ventas de membresías de tiempo compartido, solo detrás de Estados Unidos</a:t>
            </a:r>
            <a:endParaRPr lang="en-US" sz="1300" dirty="0">
              <a:solidFill>
                <a:schemeClr val="tx1"/>
              </a:solidFill>
            </a:endParaRPr>
          </a:p>
        </p:txBody>
      </p:sp>
      <p:sp>
        <p:nvSpPr>
          <p:cNvPr id="2" name="Marcador de texto 1">
            <a:extLst>
              <a:ext uri="{FF2B5EF4-FFF2-40B4-BE49-F238E27FC236}">
                <a16:creationId xmlns:a16="http://schemas.microsoft.com/office/drawing/2014/main" id="{FF4E3B99-35FA-E474-E5F4-78A42534119C}"/>
              </a:ext>
            </a:extLst>
          </p:cNvPr>
          <p:cNvSpPr>
            <a:spLocks noGrp="1"/>
          </p:cNvSpPr>
          <p:nvPr>
            <p:ph type="body" sz="quarter" idx="15"/>
          </p:nvPr>
        </p:nvSpPr>
        <p:spPr/>
        <p:txBody>
          <a:bodyPr/>
          <a:lstStyle/>
          <a:p>
            <a:r>
              <a:rPr lang="es-MX" sz="2400" dirty="0"/>
              <a:t>Tendencias</a:t>
            </a:r>
          </a:p>
        </p:txBody>
      </p:sp>
      <p:sp>
        <p:nvSpPr>
          <p:cNvPr id="5" name="Rectangle: Top Corners One Rounded and One Snipped 4">
            <a:extLst>
              <a:ext uri="{FF2B5EF4-FFF2-40B4-BE49-F238E27FC236}">
                <a16:creationId xmlns:a16="http://schemas.microsoft.com/office/drawing/2014/main" id="{BCE1A572-A8F8-0D3B-A46D-3FC3A3EB781F}"/>
              </a:ext>
            </a:extLst>
          </p:cNvPr>
          <p:cNvSpPr/>
          <p:nvPr/>
        </p:nvSpPr>
        <p:spPr>
          <a:xfrm>
            <a:off x="4711329" y="1602557"/>
            <a:ext cx="2171700" cy="2219325"/>
          </a:xfrm>
          <a:prstGeom prst="snipRoundRect">
            <a:avLst/>
          </a:prstGeom>
          <a:solidFill>
            <a:srgbClr val="014B7F">
              <a:alpha val="3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400" b="1" dirty="0">
                <a:solidFill>
                  <a:schemeClr val="tx1"/>
                </a:solidFill>
                <a:latin typeface="Aptos Display" panose="020B0004020202020204" pitchFamily="34" charset="0"/>
              </a:rPr>
              <a:t>Demanda Internacional</a:t>
            </a:r>
          </a:p>
          <a:p>
            <a:pPr algn="ctr"/>
            <a:endParaRPr lang="es-MX" sz="1400" b="1" dirty="0">
              <a:solidFill>
                <a:schemeClr val="tx1"/>
              </a:solidFill>
              <a:latin typeface="Aptos Display" panose="020B0004020202020204" pitchFamily="34" charset="0"/>
            </a:endParaRPr>
          </a:p>
          <a:p>
            <a:pPr algn="ctr"/>
            <a:r>
              <a:rPr lang="es-MX" sz="1400" b="1" dirty="0">
                <a:solidFill>
                  <a:schemeClr val="tx1"/>
                </a:solidFill>
                <a:latin typeface="Aptos Display" panose="020B0004020202020204" pitchFamily="34" charset="0"/>
              </a:rPr>
              <a:t> </a:t>
            </a:r>
            <a:r>
              <a:rPr lang="es-MX" sz="1300" dirty="0">
                <a:solidFill>
                  <a:schemeClr val="tx1"/>
                </a:solidFill>
                <a:latin typeface="Aptos Display" panose="020B0004020202020204" pitchFamily="34" charset="0"/>
              </a:rPr>
              <a:t>Más del 80% de los compradores de propiedad vacacional en México son extranjeros, principalmente de Estados Unidos y Canadá</a:t>
            </a:r>
            <a:endParaRPr lang="en-US" sz="1300" dirty="0">
              <a:solidFill>
                <a:schemeClr val="tx1"/>
              </a:solidFill>
            </a:endParaRPr>
          </a:p>
        </p:txBody>
      </p:sp>
      <p:sp>
        <p:nvSpPr>
          <p:cNvPr id="7" name="Rectangle: Top Corners One Rounded and One Snipped 6">
            <a:extLst>
              <a:ext uri="{FF2B5EF4-FFF2-40B4-BE49-F238E27FC236}">
                <a16:creationId xmlns:a16="http://schemas.microsoft.com/office/drawing/2014/main" id="{53F6FEEA-520E-E265-86EE-6F1C0753B8B8}"/>
              </a:ext>
            </a:extLst>
          </p:cNvPr>
          <p:cNvSpPr/>
          <p:nvPr/>
        </p:nvSpPr>
        <p:spPr>
          <a:xfrm>
            <a:off x="8270132" y="1602555"/>
            <a:ext cx="2171700" cy="2219325"/>
          </a:xfrm>
          <a:prstGeom prst="snipRoundRect">
            <a:avLst/>
          </a:prstGeom>
          <a:solidFill>
            <a:srgbClr val="014B7F">
              <a:alpha val="3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400" b="1" dirty="0">
                <a:solidFill>
                  <a:schemeClr val="tx1"/>
                </a:solidFill>
                <a:latin typeface="Aptos Display" panose="020B0004020202020204" pitchFamily="34" charset="0"/>
              </a:rPr>
              <a:t>Ingresos significativos</a:t>
            </a:r>
          </a:p>
          <a:p>
            <a:pPr algn="ctr"/>
            <a:endParaRPr lang="es-MX" sz="1400" dirty="0">
              <a:solidFill>
                <a:schemeClr val="tx1"/>
              </a:solidFill>
              <a:latin typeface="Aptos Display" panose="020B0004020202020204" pitchFamily="34" charset="0"/>
            </a:endParaRPr>
          </a:p>
          <a:p>
            <a:pPr algn="ctr"/>
            <a:r>
              <a:rPr lang="es-MX" sz="1300" dirty="0">
                <a:solidFill>
                  <a:schemeClr val="tx1"/>
                </a:solidFill>
                <a:latin typeface="Aptos Display" panose="020B0004020202020204" pitchFamily="34" charset="0"/>
              </a:rPr>
              <a:t>El segmento de propiedad vacacional representa ingresos anuales multimillonarios. México un jugador clave</a:t>
            </a:r>
            <a:endParaRPr lang="en-US" sz="1300" dirty="0">
              <a:solidFill>
                <a:schemeClr val="tx1"/>
              </a:solidFill>
              <a:latin typeface="Aptos Display" panose="020B0004020202020204" pitchFamily="34" charset="0"/>
            </a:endParaRPr>
          </a:p>
        </p:txBody>
      </p:sp>
      <p:sp>
        <p:nvSpPr>
          <p:cNvPr id="8" name="Rectangle: Top Corners One Rounded and One Snipped 7">
            <a:extLst>
              <a:ext uri="{FF2B5EF4-FFF2-40B4-BE49-F238E27FC236}">
                <a16:creationId xmlns:a16="http://schemas.microsoft.com/office/drawing/2014/main" id="{AA7EC7DA-88CB-F58E-5AD9-146E15003BF3}"/>
              </a:ext>
            </a:extLst>
          </p:cNvPr>
          <p:cNvSpPr/>
          <p:nvPr/>
        </p:nvSpPr>
        <p:spPr>
          <a:xfrm>
            <a:off x="2903353" y="3821882"/>
            <a:ext cx="2171700" cy="2219325"/>
          </a:xfrm>
          <a:prstGeom prst="snipRoundRect">
            <a:avLst/>
          </a:prstGeom>
          <a:solidFill>
            <a:srgbClr val="014B7F">
              <a:alpha val="3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400" b="1" dirty="0">
                <a:solidFill>
                  <a:schemeClr val="tx1"/>
                </a:solidFill>
                <a:latin typeface="Aptos Display" panose="020B0004020202020204" pitchFamily="34" charset="0"/>
              </a:rPr>
              <a:t>Ocupación alta</a:t>
            </a:r>
          </a:p>
          <a:p>
            <a:endParaRPr lang="es-MX" sz="1400" b="1" dirty="0">
              <a:solidFill>
                <a:schemeClr val="tx1"/>
              </a:solidFill>
              <a:latin typeface="Aptos Display" panose="020B0004020202020204" pitchFamily="34" charset="0"/>
            </a:endParaRPr>
          </a:p>
          <a:p>
            <a:pPr algn="ctr"/>
            <a:r>
              <a:rPr lang="es-MX" sz="1400" b="1" dirty="0">
                <a:solidFill>
                  <a:schemeClr val="tx1"/>
                </a:solidFill>
                <a:latin typeface="Aptos Display" panose="020B0004020202020204" pitchFamily="34" charset="0"/>
              </a:rPr>
              <a:t> </a:t>
            </a:r>
            <a:r>
              <a:rPr lang="es-MX" sz="1300" dirty="0">
                <a:solidFill>
                  <a:schemeClr val="tx1"/>
                </a:solidFill>
                <a:latin typeface="Aptos Display" panose="020B0004020202020204" pitchFamily="34" charset="0"/>
              </a:rPr>
              <a:t>Los desarrollos turísticos con propiedad vacacional mantienen una ocupación promedio 10 % por encima que los hoteles tradicionales</a:t>
            </a:r>
            <a:endParaRPr lang="en-US" sz="1400" dirty="0">
              <a:solidFill>
                <a:schemeClr val="tx1"/>
              </a:solidFill>
              <a:latin typeface="Aptos Display" panose="020B0004020202020204" pitchFamily="34" charset="0"/>
            </a:endParaRPr>
          </a:p>
        </p:txBody>
      </p:sp>
      <p:sp>
        <p:nvSpPr>
          <p:cNvPr id="9" name="Rectangle: Top Corners One Rounded and One Snipped 8">
            <a:extLst>
              <a:ext uri="{FF2B5EF4-FFF2-40B4-BE49-F238E27FC236}">
                <a16:creationId xmlns:a16="http://schemas.microsoft.com/office/drawing/2014/main" id="{15564FBA-8815-85F9-4DC2-3A625E8221EF}"/>
              </a:ext>
            </a:extLst>
          </p:cNvPr>
          <p:cNvSpPr/>
          <p:nvPr/>
        </p:nvSpPr>
        <p:spPr>
          <a:xfrm>
            <a:off x="6462156" y="3821881"/>
            <a:ext cx="2171700" cy="2219325"/>
          </a:xfrm>
          <a:prstGeom prst="snipRoundRect">
            <a:avLst/>
          </a:prstGeom>
          <a:solidFill>
            <a:srgbClr val="014B7F">
              <a:alpha val="3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400" b="1" dirty="0">
                <a:solidFill>
                  <a:schemeClr val="tx1"/>
                </a:solidFill>
                <a:latin typeface="Aptos Display" panose="020B0004020202020204" pitchFamily="34" charset="0"/>
              </a:rPr>
              <a:t>Flexibilidad en la oferta</a:t>
            </a:r>
          </a:p>
          <a:p>
            <a:pPr algn="ctr"/>
            <a:endParaRPr lang="es-MX" sz="1400" b="1" dirty="0">
              <a:solidFill>
                <a:schemeClr val="tx1"/>
              </a:solidFill>
              <a:latin typeface="Aptos Display" panose="020B0004020202020204" pitchFamily="34" charset="0"/>
            </a:endParaRPr>
          </a:p>
          <a:p>
            <a:pPr algn="ctr"/>
            <a:r>
              <a:rPr lang="es-MX" sz="1300" dirty="0">
                <a:solidFill>
                  <a:schemeClr val="tx1"/>
                </a:solidFill>
                <a:latin typeface="Aptos Display" panose="020B0004020202020204" pitchFamily="34" charset="0"/>
              </a:rPr>
              <a:t>Creciente  demanda por modelos de  propiedad vacacional flexibles</a:t>
            </a:r>
            <a:endParaRPr lang="en-US" sz="1400" dirty="0">
              <a:solidFill>
                <a:schemeClr val="tx1"/>
              </a:solidFill>
              <a:latin typeface="Aptos Display" panose="020B0004020202020204" pitchFamily="34" charset="0"/>
            </a:endParaRPr>
          </a:p>
        </p:txBody>
      </p:sp>
    </p:spTree>
    <p:extLst>
      <p:ext uri="{BB962C8B-B14F-4D97-AF65-F5344CB8AC3E}">
        <p14:creationId xmlns:p14="http://schemas.microsoft.com/office/powerpoint/2010/main" val="30963962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7BC688C-A37A-965F-6C00-2E12194E1D30}"/>
              </a:ext>
            </a:extLst>
          </p:cNvPr>
          <p:cNvSpPr txBox="1"/>
          <p:nvPr/>
        </p:nvSpPr>
        <p:spPr>
          <a:xfrm>
            <a:off x="481101" y="2053463"/>
            <a:ext cx="11288404" cy="369332"/>
          </a:xfrm>
          <a:prstGeom prst="rect">
            <a:avLst/>
          </a:prstGeom>
          <a:noFill/>
        </p:spPr>
        <p:txBody>
          <a:bodyPr wrap="square">
            <a:spAutoFit/>
          </a:bodyPr>
          <a:lstStyle/>
          <a:p>
            <a:pPr algn="l">
              <a:buFont typeface="+mj-lt"/>
              <a:buAutoNum type="arabicPeriod"/>
            </a:pPr>
            <a:endParaRPr lang="es-MX" b="0" i="0" dirty="0">
              <a:solidFill>
                <a:srgbClr val="111111"/>
              </a:solidFill>
              <a:effectLst/>
              <a:highlight>
                <a:srgbClr val="F7F7F7"/>
              </a:highlight>
              <a:latin typeface="-apple-system"/>
            </a:endParaRPr>
          </a:p>
        </p:txBody>
      </p:sp>
      <p:sp>
        <p:nvSpPr>
          <p:cNvPr id="6" name="TextBox 5">
            <a:extLst>
              <a:ext uri="{FF2B5EF4-FFF2-40B4-BE49-F238E27FC236}">
                <a16:creationId xmlns:a16="http://schemas.microsoft.com/office/drawing/2014/main" id="{7222801B-16E7-1820-BC06-F4303D7BC457}"/>
              </a:ext>
            </a:extLst>
          </p:cNvPr>
          <p:cNvSpPr txBox="1"/>
          <p:nvPr/>
        </p:nvSpPr>
        <p:spPr>
          <a:xfrm>
            <a:off x="481101" y="1868618"/>
            <a:ext cx="11071121" cy="4478149"/>
          </a:xfrm>
          <a:prstGeom prst="rect">
            <a:avLst/>
          </a:prstGeom>
          <a:noFill/>
        </p:spPr>
        <p:txBody>
          <a:bodyPr wrap="square">
            <a:spAutoFit/>
          </a:bodyPr>
          <a:lstStyle/>
          <a:p>
            <a:pPr algn="just"/>
            <a:r>
              <a:rPr lang="es-MX" sz="1500" b="1" dirty="0">
                <a:latin typeface="Aptos Display" panose="020B0004020202020204" pitchFamily="34" charset="0"/>
              </a:rPr>
              <a:t>Valor del mercado: </a:t>
            </a:r>
            <a:r>
              <a:rPr lang="es-MX" sz="1500" dirty="0">
                <a:latin typeface="Aptos Display" panose="020B0004020202020204" pitchFamily="34" charset="0"/>
              </a:rPr>
              <a:t>La industria global de tiempo compartido está valorada en alrededor de $21 mil millones, con contribuciones notables de EE. UU., México y Brasil. En México y América Latina, los productos de tiempo compartido a menudo se centran en la lealtad y los descuentos en lugar de la propiedad, atrayendo a muchos consumidores estadounidenses.</a:t>
            </a:r>
          </a:p>
          <a:p>
            <a:pPr marL="342900" indent="-342900" algn="just">
              <a:buFont typeface="+mj-lt"/>
              <a:buAutoNum type="arabicPeriod"/>
            </a:pPr>
            <a:endParaRPr lang="es-MX" sz="1500" dirty="0">
              <a:latin typeface="Aptos Display" panose="020B0004020202020204" pitchFamily="34" charset="0"/>
            </a:endParaRPr>
          </a:p>
          <a:p>
            <a:pPr algn="just"/>
            <a:r>
              <a:rPr lang="es-MX" sz="1500" b="1" dirty="0">
                <a:latin typeface="Aptos Display" panose="020B0004020202020204" pitchFamily="34" charset="0"/>
              </a:rPr>
              <a:t>Tendencias demográficas: </a:t>
            </a:r>
            <a:r>
              <a:rPr lang="es-MX" sz="1500" dirty="0">
                <a:latin typeface="Aptos Display" panose="020B0004020202020204" pitchFamily="34" charset="0"/>
              </a:rPr>
              <a:t>Las generaciones más jóvenes, especialmente la Generación Z y los </a:t>
            </a:r>
            <a:r>
              <a:rPr lang="es-MX" sz="1500" i="1" dirty="0" err="1">
                <a:latin typeface="Aptos Display" panose="020B0004020202020204" pitchFamily="34" charset="0"/>
              </a:rPr>
              <a:t>Millennials</a:t>
            </a:r>
            <a:r>
              <a:rPr lang="es-MX" sz="1500" dirty="0">
                <a:latin typeface="Aptos Display" panose="020B0004020202020204" pitchFamily="34" charset="0"/>
              </a:rPr>
              <a:t>, están cada vez más interesadas en una propiedad vacacional.</a:t>
            </a:r>
          </a:p>
          <a:p>
            <a:pPr algn="just"/>
            <a:endParaRPr lang="es-MX" sz="1500" dirty="0">
              <a:latin typeface="Aptos Display" panose="020B0004020202020204" pitchFamily="34" charset="0"/>
            </a:endParaRPr>
          </a:p>
          <a:p>
            <a:pPr algn="just"/>
            <a:r>
              <a:rPr lang="es-MX" sz="1500" b="1" dirty="0">
                <a:latin typeface="Aptos Display" panose="020B0004020202020204" pitchFamily="34" charset="0"/>
              </a:rPr>
              <a:t>Enfoque basado en la Experiencia : </a:t>
            </a:r>
            <a:r>
              <a:rPr lang="es-MX" sz="1500" dirty="0">
                <a:latin typeface="Aptos Display" panose="020B0004020202020204" pitchFamily="34" charset="0"/>
              </a:rPr>
              <a:t>Los consumidores buscan experiencias únicas en lugar de solo alojamiento. Las empresas están respondiendo ofreciendo propiedades con características y actividades diferenciadoras así como experiencias todo incluido con un servicio al socio inigualable lo cual  tiene un alto valor percibido.</a:t>
            </a:r>
          </a:p>
          <a:p>
            <a:pPr algn="just"/>
            <a:endParaRPr lang="es-MX" sz="1500" dirty="0">
              <a:latin typeface="Aptos Display" panose="020B0004020202020204" pitchFamily="34" charset="0"/>
            </a:endParaRPr>
          </a:p>
          <a:p>
            <a:pPr algn="just"/>
            <a:r>
              <a:rPr lang="es-MX" sz="1500" dirty="0">
                <a:latin typeface="Aptos Display" panose="020B0004020202020204" pitchFamily="34" charset="0"/>
              </a:rPr>
              <a:t>Estas tendencias muestran un panorama favorable para el sector de la propiedad vacacional en México, atrayendo tanto a turistas nacionales como internacionales.</a:t>
            </a:r>
          </a:p>
          <a:p>
            <a:pPr algn="just"/>
            <a:endParaRPr lang="es-MX" sz="1500" dirty="0">
              <a:latin typeface="Aptos Display" panose="020B0004020202020204" pitchFamily="34" charset="0"/>
            </a:endParaRPr>
          </a:p>
          <a:p>
            <a:pPr algn="just"/>
            <a:endParaRPr lang="es-MX" sz="1500" dirty="0">
              <a:latin typeface="Aptos Display" panose="020B0004020202020204" pitchFamily="34" charset="0"/>
            </a:endParaRPr>
          </a:p>
          <a:p>
            <a:pPr algn="ctr"/>
            <a:r>
              <a:rPr lang="es-MX" sz="1500" b="1" dirty="0">
                <a:latin typeface="Aptos Display" panose="020B0004020202020204" pitchFamily="34" charset="0"/>
              </a:rPr>
              <a:t>Somos referente en la Industria en términos de producto, destinos, servicio, financiamiento e infraestructura. </a:t>
            </a:r>
          </a:p>
          <a:p>
            <a:pPr algn="ctr"/>
            <a:endParaRPr lang="es-MX" sz="1500" b="1" dirty="0">
              <a:latin typeface="Aptos Display" panose="020B0004020202020204" pitchFamily="34" charset="0"/>
            </a:endParaRPr>
          </a:p>
          <a:p>
            <a:pPr algn="just"/>
            <a:endParaRPr lang="es-MX" sz="1500" dirty="0">
              <a:latin typeface="Aptos Display" panose="020B0004020202020204" pitchFamily="34" charset="0"/>
            </a:endParaRPr>
          </a:p>
          <a:p>
            <a:pPr algn="just"/>
            <a:endParaRPr lang="es-MX" sz="1500" dirty="0">
              <a:latin typeface="Aptos Display" panose="020B0004020202020204" pitchFamily="34" charset="0"/>
            </a:endParaRPr>
          </a:p>
        </p:txBody>
      </p:sp>
      <p:sp>
        <p:nvSpPr>
          <p:cNvPr id="7" name="Text Placeholder 6">
            <a:extLst>
              <a:ext uri="{FF2B5EF4-FFF2-40B4-BE49-F238E27FC236}">
                <a16:creationId xmlns:a16="http://schemas.microsoft.com/office/drawing/2014/main" id="{A2AF791A-6BB8-62DF-9873-1C5C4AE489B7}"/>
              </a:ext>
            </a:extLst>
          </p:cNvPr>
          <p:cNvSpPr>
            <a:spLocks noGrp="1"/>
          </p:cNvSpPr>
          <p:nvPr>
            <p:ph type="body" sz="quarter" idx="15"/>
          </p:nvPr>
        </p:nvSpPr>
        <p:spPr/>
        <p:txBody>
          <a:bodyPr/>
          <a:lstStyle/>
          <a:p>
            <a:r>
              <a:rPr lang="es-MX" sz="2400" dirty="0"/>
              <a:t>Tendencias</a:t>
            </a:r>
            <a:endParaRPr lang="es-MX" dirty="0"/>
          </a:p>
        </p:txBody>
      </p:sp>
    </p:spTree>
    <p:extLst>
      <p:ext uri="{BB962C8B-B14F-4D97-AF65-F5344CB8AC3E}">
        <p14:creationId xmlns:p14="http://schemas.microsoft.com/office/powerpoint/2010/main" val="14974711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D83E2C12-6326-1F52-68A8-3A8477249EC3}"/>
              </a:ext>
            </a:extLst>
          </p:cNvPr>
          <p:cNvSpPr>
            <a:spLocks noGrp="1"/>
          </p:cNvSpPr>
          <p:nvPr>
            <p:ph type="body" sz="quarter" idx="15"/>
          </p:nvPr>
        </p:nvSpPr>
        <p:spPr>
          <a:xfrm>
            <a:off x="71526" y="469517"/>
            <a:ext cx="5068429" cy="993321"/>
          </a:xfrm>
        </p:spPr>
        <p:txBody>
          <a:bodyPr/>
          <a:lstStyle/>
          <a:p>
            <a:r>
              <a:rPr lang="es-MX" sz="2400" dirty="0"/>
              <a:t>Perfil del Comprador</a:t>
            </a:r>
          </a:p>
        </p:txBody>
      </p:sp>
      <p:sp>
        <p:nvSpPr>
          <p:cNvPr id="4" name="TextBox 3">
            <a:extLst>
              <a:ext uri="{FF2B5EF4-FFF2-40B4-BE49-F238E27FC236}">
                <a16:creationId xmlns:a16="http://schemas.microsoft.com/office/drawing/2014/main" id="{E7BC688C-A37A-965F-6C00-2E12194E1D30}"/>
              </a:ext>
            </a:extLst>
          </p:cNvPr>
          <p:cNvSpPr txBox="1"/>
          <p:nvPr/>
        </p:nvSpPr>
        <p:spPr>
          <a:xfrm>
            <a:off x="481101" y="2009883"/>
            <a:ext cx="11288404" cy="369332"/>
          </a:xfrm>
          <a:prstGeom prst="rect">
            <a:avLst/>
          </a:prstGeom>
          <a:noFill/>
        </p:spPr>
        <p:txBody>
          <a:bodyPr wrap="square">
            <a:spAutoFit/>
          </a:bodyPr>
          <a:lstStyle/>
          <a:p>
            <a:pPr algn="l">
              <a:buFont typeface="+mj-lt"/>
              <a:buAutoNum type="arabicPeriod"/>
            </a:pPr>
            <a:endParaRPr lang="es-MX" b="0" i="0" dirty="0">
              <a:solidFill>
                <a:srgbClr val="111111"/>
              </a:solidFill>
              <a:effectLst/>
              <a:highlight>
                <a:srgbClr val="F7F7F7"/>
              </a:highlight>
              <a:latin typeface="-apple-system"/>
            </a:endParaRPr>
          </a:p>
        </p:txBody>
      </p:sp>
      <p:sp>
        <p:nvSpPr>
          <p:cNvPr id="3" name="TextBox 2">
            <a:extLst>
              <a:ext uri="{FF2B5EF4-FFF2-40B4-BE49-F238E27FC236}">
                <a16:creationId xmlns:a16="http://schemas.microsoft.com/office/drawing/2014/main" id="{D7E552F9-3121-9B07-287F-11D239896EF1}"/>
              </a:ext>
            </a:extLst>
          </p:cNvPr>
          <p:cNvSpPr txBox="1"/>
          <p:nvPr/>
        </p:nvSpPr>
        <p:spPr>
          <a:xfrm>
            <a:off x="619125" y="1397675"/>
            <a:ext cx="11353800" cy="2154436"/>
          </a:xfrm>
          <a:prstGeom prst="rect">
            <a:avLst/>
          </a:prstGeom>
          <a:noFill/>
        </p:spPr>
        <p:txBody>
          <a:bodyPr wrap="square">
            <a:spAutoFit/>
          </a:bodyPr>
          <a:lstStyle/>
          <a:p>
            <a:pPr algn="just"/>
            <a:r>
              <a:rPr lang="en-US" sz="1500" b="1" dirty="0" err="1">
                <a:latin typeface="Aptos Display" panose="020B0004020202020204" pitchFamily="34" charset="0"/>
              </a:rPr>
              <a:t>Perfil</a:t>
            </a:r>
            <a:r>
              <a:rPr lang="en-US" sz="1500" b="1" dirty="0">
                <a:latin typeface="Aptos Display" panose="020B0004020202020204" pitchFamily="34" charset="0"/>
              </a:rPr>
              <a:t> </a:t>
            </a:r>
            <a:r>
              <a:rPr lang="en-US" sz="1500" b="1" dirty="0" err="1">
                <a:latin typeface="Aptos Display" panose="020B0004020202020204" pitchFamily="34" charset="0"/>
              </a:rPr>
              <a:t>sociodemográfico</a:t>
            </a:r>
            <a:r>
              <a:rPr lang="en-US" sz="1500" b="1" dirty="0">
                <a:latin typeface="Aptos Display" panose="020B0004020202020204" pitchFamily="34" charset="0"/>
              </a:rPr>
              <a:t> del Comprador:</a:t>
            </a:r>
          </a:p>
          <a:p>
            <a:pPr algn="just"/>
            <a:endParaRPr lang="en-US" sz="1500" b="1" dirty="0">
              <a:latin typeface="Aptos Display" panose="020B0004020202020204" pitchFamily="34" charset="0"/>
            </a:endParaRPr>
          </a:p>
          <a:p>
            <a:pPr algn="just"/>
            <a:endParaRPr lang="en-US" sz="1500" dirty="0">
              <a:latin typeface="Aptos Display" panose="020B0004020202020204" pitchFamily="34" charset="0"/>
            </a:endParaRPr>
          </a:p>
          <a:p>
            <a:pPr lvl="0" algn="just"/>
            <a:r>
              <a:rPr lang="es-MX" sz="1500" b="1" dirty="0">
                <a:latin typeface="Aptos Display" panose="020B0004020202020204" pitchFamily="34" charset="0"/>
              </a:rPr>
              <a:t>Segmento Mexicano:</a:t>
            </a:r>
            <a:r>
              <a:rPr lang="es-MX" sz="1500" dirty="0">
                <a:latin typeface="Aptos Display" panose="020B0004020202020204" pitchFamily="34" charset="0"/>
              </a:rPr>
              <a:t> Aunque el mercado mexicano atrae a compradores de varios países, existe un segmento de compradores mexicanos de clase media y media-alta que busca una inversión a largo plazo para sus vacaciones familiares.</a:t>
            </a:r>
          </a:p>
          <a:p>
            <a:pPr lvl="0" algn="just"/>
            <a:endParaRPr lang="en-US" sz="1500" dirty="0">
              <a:latin typeface="Aptos Display" panose="020B0004020202020204" pitchFamily="34" charset="0"/>
            </a:endParaRPr>
          </a:p>
          <a:p>
            <a:pPr lvl="0" algn="just"/>
            <a:r>
              <a:rPr lang="es-MX" sz="1500" b="1" dirty="0">
                <a:latin typeface="Aptos Display" panose="020B0004020202020204" pitchFamily="34" charset="0"/>
              </a:rPr>
              <a:t>Segmento Internacional:</a:t>
            </a:r>
            <a:r>
              <a:rPr lang="es-MX" sz="1500" dirty="0">
                <a:latin typeface="Aptos Display" panose="020B0004020202020204" pitchFamily="34" charset="0"/>
              </a:rPr>
              <a:t> Gran parte de las ventas se concentra en mercados como Estados Unidos y Canadá, donde los compradores suelen ser familias con ingresos superiores a la media.</a:t>
            </a:r>
            <a:endParaRPr lang="en-US" sz="1500" dirty="0">
              <a:latin typeface="Aptos Display" panose="020B0004020202020204" pitchFamily="34" charset="0"/>
            </a:endParaRPr>
          </a:p>
          <a:p>
            <a:pPr algn="just"/>
            <a:endParaRPr lang="es-ES" sz="1400" dirty="0">
              <a:solidFill>
                <a:schemeClr val="bg1"/>
              </a:solidFill>
              <a:latin typeface="Aptos Display" panose="020B0004020202020204" pitchFamily="34" charset="0"/>
            </a:endParaRPr>
          </a:p>
        </p:txBody>
      </p:sp>
      <p:sp>
        <p:nvSpPr>
          <p:cNvPr id="5" name="TextBox 4">
            <a:extLst>
              <a:ext uri="{FF2B5EF4-FFF2-40B4-BE49-F238E27FC236}">
                <a16:creationId xmlns:a16="http://schemas.microsoft.com/office/drawing/2014/main" id="{13CCC9D7-9C18-193E-AA5E-62BED18EA627}"/>
              </a:ext>
            </a:extLst>
          </p:cNvPr>
          <p:cNvSpPr txBox="1"/>
          <p:nvPr/>
        </p:nvSpPr>
        <p:spPr>
          <a:xfrm>
            <a:off x="704775" y="3540748"/>
            <a:ext cx="4248299" cy="1938992"/>
          </a:xfrm>
          <a:prstGeom prst="rect">
            <a:avLst/>
          </a:prstGeom>
          <a:noFill/>
        </p:spPr>
        <p:txBody>
          <a:bodyPr wrap="square">
            <a:spAutoFit/>
          </a:bodyPr>
          <a:lstStyle/>
          <a:p>
            <a:r>
              <a:rPr lang="en-US" sz="1500" b="1" dirty="0" err="1">
                <a:latin typeface="Aptos Display" panose="020B0004020202020204" pitchFamily="34" charset="0"/>
              </a:rPr>
              <a:t>Características</a:t>
            </a:r>
            <a:r>
              <a:rPr lang="en-US" sz="1500" b="1" dirty="0">
                <a:latin typeface="Aptos Display" panose="020B0004020202020204" pitchFamily="34" charset="0"/>
              </a:rPr>
              <a:t> clave del comprador:</a:t>
            </a:r>
          </a:p>
          <a:p>
            <a:endParaRPr lang="en-US" sz="1500" dirty="0">
              <a:latin typeface="Aptos Display" panose="020B0004020202020204" pitchFamily="34" charset="0"/>
            </a:endParaRPr>
          </a:p>
          <a:p>
            <a:pPr marL="285750" lvl="0" indent="-285750">
              <a:buFont typeface="Arial" panose="020B0604020202020204" pitchFamily="34" charset="0"/>
              <a:buChar char="•"/>
            </a:pPr>
            <a:r>
              <a:rPr lang="en-US" sz="1500" dirty="0" err="1">
                <a:latin typeface="Aptos Display" panose="020B0004020202020204" pitchFamily="34" charset="0"/>
              </a:rPr>
              <a:t>Enfoque</a:t>
            </a:r>
            <a:r>
              <a:rPr lang="en-US" sz="1500" dirty="0">
                <a:latin typeface="Aptos Display" panose="020B0004020202020204" pitchFamily="34" charset="0"/>
              </a:rPr>
              <a:t> familiar</a:t>
            </a:r>
          </a:p>
          <a:p>
            <a:pPr marL="285750" lvl="0" indent="-285750">
              <a:buFont typeface="Arial" panose="020B0604020202020204" pitchFamily="34" charset="0"/>
              <a:buChar char="•"/>
            </a:pPr>
            <a:r>
              <a:rPr lang="en-US" sz="1500" dirty="0" err="1">
                <a:latin typeface="Aptos Display" panose="020B0004020202020204" pitchFamily="34" charset="0"/>
              </a:rPr>
              <a:t>Búsqueda</a:t>
            </a:r>
            <a:r>
              <a:rPr lang="en-US" sz="1500" dirty="0">
                <a:latin typeface="Aptos Display" panose="020B0004020202020204" pitchFamily="34" charset="0"/>
              </a:rPr>
              <a:t> de </a:t>
            </a:r>
            <a:r>
              <a:rPr lang="en-US" sz="1500" dirty="0" err="1">
                <a:latin typeface="Aptos Display" panose="020B0004020202020204" pitchFamily="34" charset="0"/>
              </a:rPr>
              <a:t>conveniencia</a:t>
            </a:r>
            <a:endParaRPr lang="en-US" sz="1500" dirty="0">
              <a:latin typeface="Aptos Display" panose="020B0004020202020204" pitchFamily="34" charset="0"/>
            </a:endParaRPr>
          </a:p>
          <a:p>
            <a:pPr marL="285750" lvl="0" indent="-285750">
              <a:buFont typeface="Arial" panose="020B0604020202020204" pitchFamily="34" charset="0"/>
              <a:buChar char="•"/>
            </a:pPr>
            <a:r>
              <a:rPr lang="es-MX" sz="1500" dirty="0">
                <a:latin typeface="Aptos Display" panose="020B0004020202020204" pitchFamily="34" charset="0"/>
              </a:rPr>
              <a:t>Valoración de beneficios a largo plazo </a:t>
            </a:r>
            <a:endParaRPr lang="en-US" sz="1500" dirty="0">
              <a:latin typeface="Aptos Display" panose="020B0004020202020204" pitchFamily="34" charset="0"/>
            </a:endParaRPr>
          </a:p>
          <a:p>
            <a:pPr marL="285750" lvl="0" indent="-285750">
              <a:buFont typeface="Arial" panose="020B0604020202020204" pitchFamily="34" charset="0"/>
              <a:buChar char="•"/>
            </a:pPr>
            <a:r>
              <a:rPr lang="en-US" sz="1500" dirty="0" err="1">
                <a:latin typeface="Aptos Display" panose="020B0004020202020204" pitchFamily="34" charset="0"/>
              </a:rPr>
              <a:t>Apreciación</a:t>
            </a:r>
            <a:r>
              <a:rPr lang="en-US" sz="1500" dirty="0">
                <a:latin typeface="Aptos Display" panose="020B0004020202020204" pitchFamily="34" charset="0"/>
              </a:rPr>
              <a:t> de </a:t>
            </a:r>
            <a:r>
              <a:rPr lang="en-US" sz="1500" dirty="0" err="1">
                <a:latin typeface="Aptos Display" panose="020B0004020202020204" pitchFamily="34" charset="0"/>
              </a:rPr>
              <a:t>comodidades</a:t>
            </a:r>
            <a:endParaRPr lang="en-US" sz="1500" dirty="0">
              <a:latin typeface="Aptos Display" panose="020B0004020202020204" pitchFamily="34" charset="0"/>
            </a:endParaRPr>
          </a:p>
          <a:p>
            <a:pPr marL="285750" lvl="0" indent="-285750">
              <a:buFont typeface="Arial" panose="020B0604020202020204" pitchFamily="34" charset="0"/>
              <a:buChar char="•"/>
            </a:pPr>
            <a:r>
              <a:rPr lang="es-MX" sz="1500" dirty="0">
                <a:latin typeface="Aptos Display" panose="020B0004020202020204" pitchFamily="34" charset="0"/>
              </a:rPr>
              <a:t>Influencia del estilo de vida</a:t>
            </a:r>
            <a:endParaRPr lang="en-US" sz="1500" dirty="0">
              <a:latin typeface="Aptos Display" panose="020B0004020202020204" pitchFamily="34" charset="0"/>
            </a:endParaRPr>
          </a:p>
          <a:p>
            <a:pPr marL="285750" lvl="0" indent="-285750">
              <a:buFont typeface="Arial" panose="020B0604020202020204" pitchFamily="34" charset="0"/>
              <a:buChar char="•"/>
            </a:pPr>
            <a:r>
              <a:rPr lang="en-US" sz="1500" dirty="0" err="1">
                <a:latin typeface="Aptos Display" panose="020B0004020202020204" pitchFamily="34" charset="0"/>
              </a:rPr>
              <a:t>Fidelidad</a:t>
            </a:r>
            <a:endParaRPr lang="en-US" sz="1500" dirty="0">
              <a:latin typeface="Aptos Display" panose="020B0004020202020204" pitchFamily="34" charset="0"/>
            </a:endParaRPr>
          </a:p>
        </p:txBody>
      </p:sp>
      <p:pic>
        <p:nvPicPr>
          <p:cNvPr id="8" name="Picture 7">
            <a:extLst>
              <a:ext uri="{FF2B5EF4-FFF2-40B4-BE49-F238E27FC236}">
                <a16:creationId xmlns:a16="http://schemas.microsoft.com/office/drawing/2014/main" id="{D43E4B59-956B-9940-4320-023DE58A60BB}"/>
              </a:ext>
            </a:extLst>
          </p:cNvPr>
          <p:cNvPicPr>
            <a:picLocks noChangeAspect="1"/>
          </p:cNvPicPr>
          <p:nvPr/>
        </p:nvPicPr>
        <p:blipFill>
          <a:blip r:embed="rId2">
            <a:alphaModFix amt="50000"/>
          </a:blip>
          <a:stretch>
            <a:fillRect/>
          </a:stretch>
        </p:blipFill>
        <p:spPr>
          <a:xfrm>
            <a:off x="5367323" y="3429000"/>
            <a:ext cx="4248299" cy="280415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855894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7BC688C-A37A-965F-6C00-2E12194E1D30}"/>
              </a:ext>
            </a:extLst>
          </p:cNvPr>
          <p:cNvSpPr txBox="1"/>
          <p:nvPr/>
        </p:nvSpPr>
        <p:spPr>
          <a:xfrm>
            <a:off x="481101" y="2053463"/>
            <a:ext cx="11288404" cy="369332"/>
          </a:xfrm>
          <a:prstGeom prst="rect">
            <a:avLst/>
          </a:prstGeom>
          <a:noFill/>
        </p:spPr>
        <p:txBody>
          <a:bodyPr wrap="square">
            <a:spAutoFit/>
          </a:bodyPr>
          <a:lstStyle/>
          <a:p>
            <a:pPr algn="l">
              <a:buFont typeface="+mj-lt"/>
              <a:buAutoNum type="arabicPeriod"/>
            </a:pPr>
            <a:endParaRPr lang="es-MX" b="0" i="0" dirty="0">
              <a:solidFill>
                <a:srgbClr val="111111"/>
              </a:solidFill>
              <a:effectLst/>
              <a:highlight>
                <a:srgbClr val="F7F7F7"/>
              </a:highlight>
              <a:latin typeface="-apple-system"/>
            </a:endParaRPr>
          </a:p>
        </p:txBody>
      </p:sp>
      <p:sp>
        <p:nvSpPr>
          <p:cNvPr id="5" name="TextBox 4">
            <a:extLst>
              <a:ext uri="{FF2B5EF4-FFF2-40B4-BE49-F238E27FC236}">
                <a16:creationId xmlns:a16="http://schemas.microsoft.com/office/drawing/2014/main" id="{0A8CD3CB-8B9D-4604-D6B3-5784C0131570}"/>
              </a:ext>
            </a:extLst>
          </p:cNvPr>
          <p:cNvSpPr txBox="1"/>
          <p:nvPr/>
        </p:nvSpPr>
        <p:spPr>
          <a:xfrm>
            <a:off x="1625630" y="1867066"/>
            <a:ext cx="3692640" cy="3447547"/>
          </a:xfrm>
          <a:prstGeom prst="rect">
            <a:avLst/>
          </a:prstGeom>
          <a:noFill/>
        </p:spPr>
        <p:txBody>
          <a:bodyPr wrap="square">
            <a:spAutoFit/>
          </a:bodyPr>
          <a:lstStyle/>
          <a:p>
            <a:pPr marL="0" marR="0">
              <a:lnSpc>
                <a:spcPct val="115000"/>
              </a:lnSpc>
              <a:spcAft>
                <a:spcPts val="800"/>
              </a:spcAft>
              <a:buNone/>
            </a:pPr>
            <a:r>
              <a:rPr lang="en-US" sz="1600" b="1" dirty="0" err="1">
                <a:latin typeface="Aptos Display" panose="020B0004020202020204" pitchFamily="34" charset="0"/>
              </a:rPr>
              <a:t>Motivaciones</a:t>
            </a:r>
            <a:r>
              <a:rPr lang="en-US" sz="1600" b="1" dirty="0">
                <a:latin typeface="Aptos Display" panose="020B0004020202020204" pitchFamily="34" charset="0"/>
              </a:rPr>
              <a:t> y </a:t>
            </a:r>
            <a:r>
              <a:rPr lang="en-US" sz="1600" b="1" dirty="0" err="1">
                <a:latin typeface="Aptos Display" panose="020B0004020202020204" pitchFamily="34" charset="0"/>
              </a:rPr>
              <a:t>estilo</a:t>
            </a:r>
            <a:r>
              <a:rPr lang="en-US" sz="1600" b="1" dirty="0">
                <a:latin typeface="Aptos Display" panose="020B0004020202020204" pitchFamily="34" charset="0"/>
              </a:rPr>
              <a:t> de </a:t>
            </a:r>
            <a:r>
              <a:rPr lang="en-US" sz="1600" b="1" dirty="0" err="1">
                <a:latin typeface="Aptos Display" panose="020B0004020202020204" pitchFamily="34" charset="0"/>
              </a:rPr>
              <a:t>vida</a:t>
            </a:r>
            <a:endParaRPr lang="en-US" sz="1600" b="1" dirty="0">
              <a:latin typeface="Aptos Display" panose="020B0004020202020204" pitchFamily="34" charset="0"/>
            </a:endParaRPr>
          </a:p>
          <a:p>
            <a:pPr marL="0" marR="0">
              <a:lnSpc>
                <a:spcPct val="115000"/>
              </a:lnSpc>
              <a:spcAft>
                <a:spcPts val="800"/>
              </a:spcAft>
              <a:buNone/>
            </a:pPr>
            <a:endParaRPr lang="en-US" sz="1600" dirty="0">
              <a:latin typeface="Aptos Display" panose="020B0004020202020204" pitchFamily="34" charset="0"/>
            </a:endParaRPr>
          </a:p>
          <a:p>
            <a:pPr marL="342900" marR="0" lvl="0" indent="-342900">
              <a:lnSpc>
                <a:spcPct val="115000"/>
              </a:lnSpc>
              <a:spcAft>
                <a:spcPts val="800"/>
              </a:spcAft>
              <a:buSzPts val="1000"/>
              <a:buFont typeface="Symbol" panose="05050102010706020507" pitchFamily="18" charset="2"/>
              <a:buChar char=""/>
              <a:tabLst>
                <a:tab pos="457200" algn="l"/>
              </a:tabLst>
            </a:pPr>
            <a:r>
              <a:rPr lang="es-MX" sz="1600" dirty="0">
                <a:latin typeface="Aptos Display" panose="020B0004020202020204" pitchFamily="34" charset="0"/>
              </a:rPr>
              <a:t>Búsqueda de flexibilidad</a:t>
            </a:r>
          </a:p>
          <a:p>
            <a:pPr marL="342900" marR="0" lvl="0" indent="-342900">
              <a:lnSpc>
                <a:spcPct val="115000"/>
              </a:lnSpc>
              <a:spcAft>
                <a:spcPts val="800"/>
              </a:spcAft>
              <a:buSzPts val="1000"/>
              <a:buFont typeface="Symbol" panose="05050102010706020507" pitchFamily="18" charset="2"/>
              <a:buChar char=""/>
              <a:tabLst>
                <a:tab pos="457200" algn="l"/>
              </a:tabLst>
            </a:pPr>
            <a:r>
              <a:rPr lang="es-MX" sz="1600" dirty="0">
                <a:latin typeface="Aptos Display" panose="020B0004020202020204" pitchFamily="34" charset="0"/>
              </a:rPr>
              <a:t>Conveniencia y planificación</a:t>
            </a:r>
          </a:p>
          <a:p>
            <a:pPr marL="342900" marR="0" lvl="0" indent="-342900">
              <a:lnSpc>
                <a:spcPct val="115000"/>
              </a:lnSpc>
              <a:spcAft>
                <a:spcPts val="800"/>
              </a:spcAft>
              <a:buSzPts val="1000"/>
              <a:buFont typeface="Symbol" panose="05050102010706020507" pitchFamily="18" charset="2"/>
              <a:buChar char=""/>
              <a:tabLst>
                <a:tab pos="457200" algn="l"/>
              </a:tabLst>
            </a:pPr>
            <a:r>
              <a:rPr lang="es-MX" sz="1600" dirty="0">
                <a:latin typeface="Aptos Display" panose="020B0004020202020204" pitchFamily="34" charset="0"/>
              </a:rPr>
              <a:t>Ahorro a largo plazo</a:t>
            </a:r>
          </a:p>
          <a:p>
            <a:pPr marL="342900" marR="0" lvl="0" indent="-342900">
              <a:lnSpc>
                <a:spcPct val="115000"/>
              </a:lnSpc>
              <a:spcAft>
                <a:spcPts val="800"/>
              </a:spcAft>
              <a:buSzPts val="1000"/>
              <a:buFont typeface="Symbol" panose="05050102010706020507" pitchFamily="18" charset="2"/>
              <a:buChar char=""/>
              <a:tabLst>
                <a:tab pos="457200" algn="l"/>
              </a:tabLst>
            </a:pPr>
            <a:r>
              <a:rPr lang="es-MX" sz="1600" dirty="0">
                <a:latin typeface="Aptos Display" panose="020B0004020202020204" pitchFamily="34" charset="0"/>
              </a:rPr>
              <a:t>Acceso a calidad y servicios</a:t>
            </a:r>
          </a:p>
          <a:p>
            <a:pPr marL="342900" marR="0" lvl="0" indent="-342900">
              <a:lnSpc>
                <a:spcPct val="115000"/>
              </a:lnSpc>
              <a:spcAft>
                <a:spcPts val="800"/>
              </a:spcAft>
              <a:buSzPts val="1000"/>
              <a:buFont typeface="Symbol" panose="05050102010706020507" pitchFamily="18" charset="2"/>
              <a:buChar char=""/>
              <a:tabLst>
                <a:tab pos="457200" algn="l"/>
              </a:tabLst>
            </a:pPr>
            <a:r>
              <a:rPr lang="es-MX" sz="1600" dirty="0">
                <a:latin typeface="Aptos Display" panose="020B0004020202020204" pitchFamily="34" charset="0"/>
              </a:rPr>
              <a:t>Variedad de destinos</a:t>
            </a:r>
          </a:p>
          <a:p>
            <a:pPr marL="342900" marR="0" lvl="0" indent="-342900">
              <a:lnSpc>
                <a:spcPct val="115000"/>
              </a:lnSpc>
              <a:spcAft>
                <a:spcPts val="800"/>
              </a:spcAft>
              <a:buSzPts val="1000"/>
              <a:buFont typeface="Symbol" panose="05050102010706020507" pitchFamily="18" charset="2"/>
              <a:buChar char=""/>
              <a:tabLst>
                <a:tab pos="457200" algn="l"/>
              </a:tabLst>
            </a:pPr>
            <a:r>
              <a:rPr lang="es-MX" sz="1600" dirty="0">
                <a:latin typeface="Aptos Display" panose="020B0004020202020204" pitchFamily="34" charset="0"/>
              </a:rPr>
              <a:t>Experiencias exclusivas</a:t>
            </a:r>
          </a:p>
          <a:p>
            <a:pPr marL="342900" marR="0" lvl="0" indent="-342900">
              <a:lnSpc>
                <a:spcPct val="115000"/>
              </a:lnSpc>
              <a:spcAft>
                <a:spcPts val="800"/>
              </a:spcAft>
              <a:buSzPts val="1000"/>
              <a:buFont typeface="Symbol" panose="05050102010706020507" pitchFamily="18" charset="2"/>
              <a:buChar char=""/>
              <a:tabLst>
                <a:tab pos="457200" algn="l"/>
              </a:tabLst>
            </a:pPr>
            <a:r>
              <a:rPr lang="es-MX" sz="1600" dirty="0">
                <a:latin typeface="Aptos Display" panose="020B0004020202020204" pitchFamily="34" charset="0"/>
              </a:rPr>
              <a:t>Viajes frecuentes</a:t>
            </a:r>
            <a:endParaRPr lang="en-US" sz="1600" dirty="0">
              <a:latin typeface="Aptos Display" panose="020B0004020202020204" pitchFamily="34" charset="0"/>
            </a:endParaRPr>
          </a:p>
        </p:txBody>
      </p:sp>
      <p:sp>
        <p:nvSpPr>
          <p:cNvPr id="9" name="Marcador de texto 1">
            <a:extLst>
              <a:ext uri="{FF2B5EF4-FFF2-40B4-BE49-F238E27FC236}">
                <a16:creationId xmlns:a16="http://schemas.microsoft.com/office/drawing/2014/main" id="{687C0EF0-851F-7BCB-CFDF-3862937BB7B5}"/>
              </a:ext>
            </a:extLst>
          </p:cNvPr>
          <p:cNvSpPr txBox="1">
            <a:spLocks/>
          </p:cNvSpPr>
          <p:nvPr/>
        </p:nvSpPr>
        <p:spPr>
          <a:xfrm>
            <a:off x="71526" y="469517"/>
            <a:ext cx="5068429" cy="99332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400" b="1" kern="1200">
                <a:solidFill>
                  <a:srgbClr val="014B7F"/>
                </a:solidFill>
                <a:latin typeface="Poppins" panose="00000500000000000000" pitchFamily="2" charset="0"/>
                <a:ea typeface="+mn-ea"/>
                <a:cs typeface="Poppins" panose="000005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MX" sz="2400"/>
              <a:t>Perfil del Comprador</a:t>
            </a:r>
            <a:endParaRPr lang="es-MX" sz="2400" dirty="0"/>
          </a:p>
        </p:txBody>
      </p:sp>
      <p:pic>
        <p:nvPicPr>
          <p:cNvPr id="13" name="Picture 12">
            <a:extLst>
              <a:ext uri="{FF2B5EF4-FFF2-40B4-BE49-F238E27FC236}">
                <a16:creationId xmlns:a16="http://schemas.microsoft.com/office/drawing/2014/main" id="{C4CE7817-B681-A2E8-BDDF-6FA10B4C62AB}"/>
              </a:ext>
            </a:extLst>
          </p:cNvPr>
          <p:cNvPicPr>
            <a:picLocks noChangeAspect="1"/>
          </p:cNvPicPr>
          <p:nvPr/>
        </p:nvPicPr>
        <p:blipFill>
          <a:blip r:embed="rId2">
            <a:alphaModFix amt="50000"/>
          </a:blip>
          <a:stretch>
            <a:fillRect/>
          </a:stretch>
        </p:blipFill>
        <p:spPr>
          <a:xfrm>
            <a:off x="6295450" y="1612305"/>
            <a:ext cx="4923396" cy="334811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1" name="Picture 10">
            <a:extLst>
              <a:ext uri="{FF2B5EF4-FFF2-40B4-BE49-F238E27FC236}">
                <a16:creationId xmlns:a16="http://schemas.microsoft.com/office/drawing/2014/main" id="{0FF8AA50-C1C7-0AF4-0242-D58D2B0D654F}"/>
              </a:ext>
            </a:extLst>
          </p:cNvPr>
          <p:cNvPicPr>
            <a:picLocks noChangeAspect="1"/>
          </p:cNvPicPr>
          <p:nvPr/>
        </p:nvPicPr>
        <p:blipFill>
          <a:blip r:embed="rId3">
            <a:alphaModFix amt="50000"/>
          </a:blip>
          <a:stretch>
            <a:fillRect/>
          </a:stretch>
        </p:blipFill>
        <p:spPr>
          <a:xfrm>
            <a:off x="6001057" y="3317529"/>
            <a:ext cx="1365896" cy="2084046"/>
          </a:xfrm>
          <a:prstGeom prst="rect">
            <a:avLst/>
          </a:prstGeom>
          <a:ln>
            <a:noFill/>
          </a:ln>
          <a:effectLst>
            <a:softEdge rad="112500"/>
          </a:effectLst>
        </p:spPr>
      </p:pic>
    </p:spTree>
    <p:extLst>
      <p:ext uri="{BB962C8B-B14F-4D97-AF65-F5344CB8AC3E}">
        <p14:creationId xmlns:p14="http://schemas.microsoft.com/office/powerpoint/2010/main" val="5152943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7BC688C-A37A-965F-6C00-2E12194E1D30}"/>
              </a:ext>
            </a:extLst>
          </p:cNvPr>
          <p:cNvSpPr txBox="1"/>
          <p:nvPr/>
        </p:nvSpPr>
        <p:spPr>
          <a:xfrm>
            <a:off x="481101" y="2053463"/>
            <a:ext cx="11288404" cy="369332"/>
          </a:xfrm>
          <a:prstGeom prst="rect">
            <a:avLst/>
          </a:prstGeom>
          <a:noFill/>
        </p:spPr>
        <p:txBody>
          <a:bodyPr wrap="square">
            <a:spAutoFit/>
          </a:bodyPr>
          <a:lstStyle/>
          <a:p>
            <a:pPr algn="l">
              <a:buFont typeface="+mj-lt"/>
              <a:buAutoNum type="arabicPeriod"/>
            </a:pPr>
            <a:endParaRPr lang="es-MX" b="0" i="0" dirty="0">
              <a:solidFill>
                <a:srgbClr val="111111"/>
              </a:solidFill>
              <a:effectLst/>
              <a:highlight>
                <a:srgbClr val="F7F7F7"/>
              </a:highlight>
              <a:latin typeface="-apple-system"/>
            </a:endParaRPr>
          </a:p>
        </p:txBody>
      </p:sp>
      <p:sp>
        <p:nvSpPr>
          <p:cNvPr id="7" name="Marcador de texto 1">
            <a:extLst>
              <a:ext uri="{FF2B5EF4-FFF2-40B4-BE49-F238E27FC236}">
                <a16:creationId xmlns:a16="http://schemas.microsoft.com/office/drawing/2014/main" id="{61CDEDBF-223A-DEA3-9CDE-9984A4E46541}"/>
              </a:ext>
            </a:extLst>
          </p:cNvPr>
          <p:cNvSpPr txBox="1">
            <a:spLocks/>
          </p:cNvSpPr>
          <p:nvPr/>
        </p:nvSpPr>
        <p:spPr>
          <a:xfrm>
            <a:off x="71526" y="469517"/>
            <a:ext cx="5068429" cy="99332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400" b="1" kern="1200">
                <a:solidFill>
                  <a:srgbClr val="014B7F"/>
                </a:solidFill>
                <a:latin typeface="Poppins" panose="00000500000000000000" pitchFamily="2" charset="0"/>
                <a:ea typeface="+mn-ea"/>
                <a:cs typeface="Poppins" panose="000005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MX" sz="2400"/>
              <a:t>Perfil del Comprador</a:t>
            </a:r>
            <a:endParaRPr lang="es-MX" sz="2400" dirty="0"/>
          </a:p>
        </p:txBody>
      </p:sp>
      <p:sp>
        <p:nvSpPr>
          <p:cNvPr id="9" name="TextBox 8">
            <a:extLst>
              <a:ext uri="{FF2B5EF4-FFF2-40B4-BE49-F238E27FC236}">
                <a16:creationId xmlns:a16="http://schemas.microsoft.com/office/drawing/2014/main" id="{F5F0E41D-37B0-B2A0-7D16-CE040BA1F1A7}"/>
              </a:ext>
            </a:extLst>
          </p:cNvPr>
          <p:cNvSpPr txBox="1"/>
          <p:nvPr/>
        </p:nvSpPr>
        <p:spPr>
          <a:xfrm>
            <a:off x="481101" y="1758113"/>
            <a:ext cx="5346026" cy="3842142"/>
          </a:xfrm>
          <a:prstGeom prst="rect">
            <a:avLst/>
          </a:prstGeom>
          <a:noFill/>
        </p:spPr>
        <p:txBody>
          <a:bodyPr wrap="square">
            <a:spAutoFit/>
          </a:bodyPr>
          <a:lstStyle/>
          <a:p>
            <a:pPr marL="0" marR="0" algn="just">
              <a:lnSpc>
                <a:spcPct val="115000"/>
              </a:lnSpc>
              <a:spcAft>
                <a:spcPts val="800"/>
              </a:spcAft>
              <a:buNone/>
            </a:pPr>
            <a:r>
              <a:rPr lang="en-US" sz="1500" b="1" kern="100" dirty="0" err="1">
                <a:effectLst/>
                <a:latin typeface="Aptos Display" panose="020B0004020202020204" pitchFamily="34" charset="0"/>
                <a:ea typeface="Aptos" panose="020B0004020202020204" pitchFamily="34" charset="0"/>
                <a:cs typeface="Times New Roman" panose="02020603050405020304" pitchFamily="18" charset="0"/>
              </a:rPr>
              <a:t>Características</a:t>
            </a:r>
            <a:r>
              <a:rPr lang="en-US" sz="1500" b="1" kern="100" dirty="0">
                <a:effectLst/>
                <a:latin typeface="Aptos Display" panose="020B0004020202020204" pitchFamily="34" charset="0"/>
                <a:ea typeface="Aptos" panose="020B0004020202020204" pitchFamily="34" charset="0"/>
                <a:cs typeface="Times New Roman" panose="02020603050405020304" pitchFamily="18" charset="0"/>
              </a:rPr>
              <a:t> </a:t>
            </a:r>
            <a:r>
              <a:rPr lang="en-US" sz="1500" b="1" kern="100" dirty="0" err="1">
                <a:effectLst/>
                <a:latin typeface="Aptos Display" panose="020B0004020202020204" pitchFamily="34" charset="0"/>
                <a:ea typeface="Aptos" panose="020B0004020202020204" pitchFamily="34" charset="0"/>
                <a:cs typeface="Times New Roman" panose="02020603050405020304" pitchFamily="18" charset="0"/>
              </a:rPr>
              <a:t>demográficas</a:t>
            </a:r>
            <a:r>
              <a:rPr lang="en-US" sz="1500" b="1" kern="100" dirty="0">
                <a:effectLst/>
                <a:latin typeface="Aptos Display" panose="020B0004020202020204" pitchFamily="34" charset="0"/>
                <a:ea typeface="Aptos" panose="020B0004020202020204" pitchFamily="34" charset="0"/>
                <a:cs typeface="Times New Roman" panose="02020603050405020304" pitchFamily="18" charset="0"/>
              </a:rPr>
              <a:t> y </a:t>
            </a:r>
            <a:r>
              <a:rPr lang="en-US" sz="1500" b="1" kern="100" dirty="0" err="1">
                <a:effectLst/>
                <a:latin typeface="Aptos Display" panose="020B0004020202020204" pitchFamily="34" charset="0"/>
                <a:ea typeface="Aptos" panose="020B0004020202020204" pitchFamily="34" charset="0"/>
                <a:cs typeface="Times New Roman" panose="02020603050405020304" pitchFamily="18" charset="0"/>
              </a:rPr>
              <a:t>socioeconómicas</a:t>
            </a:r>
            <a:endParaRPr lang="en-US" sz="1500" b="1" kern="100" dirty="0">
              <a:effectLst/>
              <a:latin typeface="Aptos Display" panose="020B0004020202020204" pitchFamily="34" charset="0"/>
              <a:ea typeface="Aptos" panose="020B0004020202020204" pitchFamily="34" charset="0"/>
              <a:cs typeface="Times New Roman" panose="02020603050405020304" pitchFamily="18" charset="0"/>
            </a:endParaRPr>
          </a:p>
          <a:p>
            <a:pPr marL="0" marR="0" algn="just">
              <a:lnSpc>
                <a:spcPct val="115000"/>
              </a:lnSpc>
              <a:spcAft>
                <a:spcPts val="800"/>
              </a:spcAft>
              <a:buNone/>
            </a:pPr>
            <a:endParaRPr lang="en-US" sz="1500" kern="100" dirty="0">
              <a:effectLst/>
              <a:latin typeface="Aptos Display" panose="020B0004020202020204" pitchFamily="34" charset="0"/>
              <a:ea typeface="Aptos" panose="020B0004020202020204" pitchFamily="34" charset="0"/>
              <a:cs typeface="Times New Roman" panose="02020603050405020304" pitchFamily="18" charset="0"/>
            </a:endParaRPr>
          </a:p>
          <a:p>
            <a:pPr marL="342900" marR="0" lvl="0" indent="-342900" algn="just">
              <a:lnSpc>
                <a:spcPct val="115000"/>
              </a:lnSpc>
              <a:spcAft>
                <a:spcPts val="800"/>
              </a:spcAft>
              <a:buSzPts val="1000"/>
              <a:buFont typeface="Symbol" panose="05050102010706020507" pitchFamily="18" charset="2"/>
              <a:buChar char=""/>
              <a:tabLst>
                <a:tab pos="457200" algn="l"/>
              </a:tabLst>
            </a:pPr>
            <a:r>
              <a:rPr lang="es-MX" sz="1400" b="1" kern="100" dirty="0">
                <a:effectLst/>
                <a:latin typeface="Aptos Display" panose="020B0004020202020204" pitchFamily="34" charset="0"/>
                <a:ea typeface="Aptos" panose="020B0004020202020204" pitchFamily="34" charset="0"/>
                <a:cs typeface="Times New Roman" panose="02020603050405020304" pitchFamily="18" charset="0"/>
              </a:rPr>
              <a:t>Edad:</a:t>
            </a:r>
            <a:r>
              <a:rPr lang="es-MX" sz="1400" kern="100" dirty="0">
                <a:effectLst/>
                <a:latin typeface="Aptos Display" panose="020B0004020202020204" pitchFamily="34" charset="0"/>
                <a:ea typeface="Aptos" panose="020B0004020202020204" pitchFamily="34" charset="0"/>
                <a:cs typeface="Times New Roman" panose="02020603050405020304" pitchFamily="18" charset="0"/>
              </a:rPr>
              <a:t> 	La edad promedio de los compradores recientes tiende a ser más joven, a menudo en el rango de los 40 años (Generación X y </a:t>
            </a:r>
            <a:r>
              <a:rPr lang="es-MX" sz="1400" i="1" kern="100" dirty="0" err="1">
                <a:effectLst/>
                <a:latin typeface="Aptos Display" panose="020B0004020202020204" pitchFamily="34" charset="0"/>
                <a:ea typeface="Aptos" panose="020B0004020202020204" pitchFamily="34" charset="0"/>
                <a:cs typeface="Times New Roman" panose="02020603050405020304" pitchFamily="18" charset="0"/>
              </a:rPr>
              <a:t>millennials</a:t>
            </a:r>
            <a:r>
              <a:rPr lang="es-MX" sz="1400" kern="100" dirty="0">
                <a:effectLst/>
                <a:latin typeface="Aptos Display" panose="020B0004020202020204" pitchFamily="34" charset="0"/>
                <a:ea typeface="Aptos" panose="020B0004020202020204" pitchFamily="34" charset="0"/>
                <a:cs typeface="Times New Roman" panose="02020603050405020304" pitchFamily="18" charset="0"/>
              </a:rPr>
              <a:t>). </a:t>
            </a:r>
          </a:p>
          <a:p>
            <a:pPr marL="342900" marR="0" lvl="0" indent="-342900" algn="just">
              <a:lnSpc>
                <a:spcPct val="115000"/>
              </a:lnSpc>
              <a:spcAft>
                <a:spcPts val="800"/>
              </a:spcAft>
              <a:buSzPts val="1000"/>
              <a:buFont typeface="Symbol" panose="05050102010706020507" pitchFamily="18" charset="2"/>
              <a:buChar char=""/>
              <a:tabLst>
                <a:tab pos="457200" algn="l"/>
              </a:tabLst>
            </a:pPr>
            <a:r>
              <a:rPr lang="es-MX" sz="1400" b="1" kern="100" dirty="0">
                <a:effectLst/>
                <a:latin typeface="Aptos Display" panose="020B0004020202020204" pitchFamily="34" charset="0"/>
                <a:ea typeface="Aptos" panose="020B0004020202020204" pitchFamily="34" charset="0"/>
                <a:cs typeface="Times New Roman" panose="02020603050405020304" pitchFamily="18" charset="0"/>
              </a:rPr>
              <a:t>Ingresos:</a:t>
            </a:r>
            <a:r>
              <a:rPr lang="es-MX" sz="1400" kern="100" dirty="0">
                <a:effectLst/>
                <a:latin typeface="Aptos Display" panose="020B0004020202020204" pitchFamily="34" charset="0"/>
                <a:ea typeface="Aptos" panose="020B0004020202020204" pitchFamily="34" charset="0"/>
                <a:cs typeface="Times New Roman" panose="02020603050405020304" pitchFamily="18" charset="0"/>
              </a:rPr>
              <a:t> Tienen ingresos familiares superiores a la media con un patrimonio neto significativo en el mercado de gama alta.</a:t>
            </a:r>
            <a:endParaRPr lang="en-US" sz="1400" kern="100" dirty="0">
              <a:effectLst/>
              <a:latin typeface="Aptos Display" panose="020B0004020202020204" pitchFamily="34" charset="0"/>
              <a:ea typeface="Aptos" panose="020B0004020202020204" pitchFamily="34" charset="0"/>
              <a:cs typeface="Times New Roman" panose="02020603050405020304" pitchFamily="18" charset="0"/>
            </a:endParaRPr>
          </a:p>
          <a:p>
            <a:pPr marL="342900" marR="0" lvl="0" indent="-342900" algn="just">
              <a:lnSpc>
                <a:spcPct val="115000"/>
              </a:lnSpc>
              <a:spcAft>
                <a:spcPts val="800"/>
              </a:spcAft>
              <a:buSzPts val="1000"/>
              <a:buFont typeface="Symbol" panose="05050102010706020507" pitchFamily="18" charset="2"/>
              <a:buChar char=""/>
              <a:tabLst>
                <a:tab pos="457200" algn="l"/>
              </a:tabLst>
            </a:pPr>
            <a:r>
              <a:rPr lang="es-MX" sz="1400" b="1" kern="100" dirty="0">
                <a:effectLst/>
                <a:latin typeface="Aptos Display" panose="020B0004020202020204" pitchFamily="34" charset="0"/>
                <a:ea typeface="Aptos" panose="020B0004020202020204" pitchFamily="34" charset="0"/>
                <a:cs typeface="Times New Roman" panose="02020603050405020304" pitchFamily="18" charset="0"/>
              </a:rPr>
              <a:t>Nivel educativo:</a:t>
            </a:r>
            <a:r>
              <a:rPr lang="es-MX" sz="1400" kern="100" dirty="0">
                <a:effectLst/>
                <a:latin typeface="Aptos Display" panose="020B0004020202020204" pitchFamily="34" charset="0"/>
                <a:ea typeface="Aptos" panose="020B0004020202020204" pitchFamily="34" charset="0"/>
                <a:cs typeface="Times New Roman" panose="02020603050405020304" pitchFamily="18" charset="0"/>
              </a:rPr>
              <a:t> 	Son compradores bien educados, con un alto porcentaje que posee un título universitario o de posgrado.</a:t>
            </a:r>
            <a:endParaRPr lang="en-US" sz="1400" kern="100" dirty="0">
              <a:effectLst/>
              <a:latin typeface="Aptos Display" panose="020B0004020202020204" pitchFamily="34" charset="0"/>
              <a:ea typeface="Aptos" panose="020B0004020202020204" pitchFamily="34" charset="0"/>
              <a:cs typeface="Times New Roman" panose="02020603050405020304" pitchFamily="18" charset="0"/>
            </a:endParaRPr>
          </a:p>
          <a:p>
            <a:pPr marL="342900" marR="0" lvl="0" indent="-342900" algn="just">
              <a:lnSpc>
                <a:spcPct val="115000"/>
              </a:lnSpc>
              <a:spcAft>
                <a:spcPts val="800"/>
              </a:spcAft>
              <a:buSzPts val="1000"/>
              <a:buFont typeface="Symbol" panose="05050102010706020507" pitchFamily="18" charset="2"/>
              <a:buChar char=""/>
              <a:tabLst>
                <a:tab pos="457200" algn="l"/>
              </a:tabLst>
            </a:pPr>
            <a:r>
              <a:rPr lang="es-MX" sz="1400" b="1" kern="100" dirty="0">
                <a:effectLst/>
                <a:latin typeface="Aptos Display" panose="020B0004020202020204" pitchFamily="34" charset="0"/>
                <a:ea typeface="Aptos" panose="020B0004020202020204" pitchFamily="34" charset="0"/>
                <a:cs typeface="Times New Roman" panose="02020603050405020304" pitchFamily="18" charset="0"/>
              </a:rPr>
              <a:t>Composición familiar:</a:t>
            </a:r>
            <a:r>
              <a:rPr lang="es-MX" sz="1400" kern="100" dirty="0">
                <a:effectLst/>
                <a:latin typeface="Aptos Display" panose="020B0004020202020204" pitchFamily="34" charset="0"/>
                <a:ea typeface="Aptos" panose="020B0004020202020204" pitchFamily="34" charset="0"/>
                <a:cs typeface="Times New Roman" panose="02020603050405020304" pitchFamily="18" charset="0"/>
              </a:rPr>
              <a:t> Son a menudo familias jóvenes o familias con hijos adolescentes que viajan juntos. Otros segmentos incluyen parejas mayores cuyos hijos ya no viven en casa (</a:t>
            </a:r>
            <a:r>
              <a:rPr lang="es-MX" sz="1400" i="1" kern="100" dirty="0" err="1">
                <a:effectLst/>
                <a:latin typeface="Aptos Display" panose="020B0004020202020204" pitchFamily="34" charset="0"/>
                <a:ea typeface="Aptos" panose="020B0004020202020204" pitchFamily="34" charset="0"/>
                <a:cs typeface="Times New Roman" panose="02020603050405020304" pitchFamily="18" charset="0"/>
              </a:rPr>
              <a:t>empty</a:t>
            </a:r>
            <a:r>
              <a:rPr lang="es-MX" sz="1400" i="1" kern="100" dirty="0">
                <a:effectLst/>
                <a:latin typeface="Aptos Display" panose="020B0004020202020204" pitchFamily="34" charset="0"/>
                <a:ea typeface="Aptos" panose="020B0004020202020204" pitchFamily="34" charset="0"/>
                <a:cs typeface="Times New Roman" panose="02020603050405020304" pitchFamily="18" charset="0"/>
              </a:rPr>
              <a:t> </a:t>
            </a:r>
            <a:r>
              <a:rPr lang="es-MX" sz="1400" i="1" kern="100" dirty="0" err="1">
                <a:effectLst/>
                <a:latin typeface="Aptos Display" panose="020B0004020202020204" pitchFamily="34" charset="0"/>
                <a:ea typeface="Aptos" panose="020B0004020202020204" pitchFamily="34" charset="0"/>
                <a:cs typeface="Times New Roman" panose="02020603050405020304" pitchFamily="18" charset="0"/>
              </a:rPr>
              <a:t>nesters</a:t>
            </a:r>
            <a:r>
              <a:rPr lang="es-MX" sz="1400" kern="100" dirty="0">
                <a:effectLst/>
                <a:latin typeface="Aptos Display" panose="020B0004020202020204" pitchFamily="34" charset="0"/>
                <a:ea typeface="Aptos" panose="020B0004020202020204" pitchFamily="34" charset="0"/>
                <a:cs typeface="Times New Roman" panose="02020603050405020304" pitchFamily="18" charset="0"/>
              </a:rPr>
              <a:t>). </a:t>
            </a:r>
            <a:endParaRPr lang="en-US" sz="1400" kern="100" dirty="0">
              <a:effectLst/>
              <a:latin typeface="Aptos Display" panose="020B0004020202020204" pitchFamily="34" charset="0"/>
              <a:ea typeface="Aptos" panose="020B0004020202020204" pitchFamily="34" charset="0"/>
              <a:cs typeface="Times New Roman" panose="02020603050405020304" pitchFamily="18" charset="0"/>
            </a:endParaRPr>
          </a:p>
        </p:txBody>
      </p:sp>
      <p:sp>
        <p:nvSpPr>
          <p:cNvPr id="11" name="TextBox 10">
            <a:extLst>
              <a:ext uri="{FF2B5EF4-FFF2-40B4-BE49-F238E27FC236}">
                <a16:creationId xmlns:a16="http://schemas.microsoft.com/office/drawing/2014/main" id="{8150826B-F2C0-C552-83D4-77B2561DEBB7}"/>
              </a:ext>
            </a:extLst>
          </p:cNvPr>
          <p:cNvSpPr txBox="1"/>
          <p:nvPr/>
        </p:nvSpPr>
        <p:spPr>
          <a:xfrm>
            <a:off x="6377111" y="1758113"/>
            <a:ext cx="5575196" cy="3491790"/>
          </a:xfrm>
          <a:prstGeom prst="rect">
            <a:avLst/>
          </a:prstGeom>
          <a:noFill/>
        </p:spPr>
        <p:txBody>
          <a:bodyPr wrap="square">
            <a:spAutoFit/>
          </a:bodyPr>
          <a:lstStyle/>
          <a:p>
            <a:pPr marL="0" marR="0">
              <a:lnSpc>
                <a:spcPct val="115000"/>
              </a:lnSpc>
              <a:spcAft>
                <a:spcPts val="800"/>
              </a:spcAft>
              <a:buNone/>
            </a:pPr>
            <a:r>
              <a:rPr lang="en-US" sz="1500" b="1" kern="100" dirty="0" err="1">
                <a:effectLst/>
                <a:latin typeface="Aptos Display" panose="020B0004020202020204" pitchFamily="34" charset="0"/>
                <a:ea typeface="Aptos" panose="020B0004020202020204" pitchFamily="34" charset="0"/>
                <a:cs typeface="Times New Roman" panose="02020603050405020304" pitchFamily="18" charset="0"/>
              </a:rPr>
              <a:t>Comportamiento</a:t>
            </a:r>
            <a:r>
              <a:rPr lang="en-US" sz="1500" b="1" kern="100" dirty="0">
                <a:effectLst/>
                <a:latin typeface="Aptos Display" panose="020B0004020202020204" pitchFamily="34" charset="0"/>
                <a:ea typeface="Aptos" panose="020B0004020202020204" pitchFamily="34" charset="0"/>
                <a:cs typeface="Times New Roman" panose="02020603050405020304" pitchFamily="18" charset="0"/>
              </a:rPr>
              <a:t> de </a:t>
            </a:r>
            <a:r>
              <a:rPr lang="en-US" sz="1500" b="1" kern="100" dirty="0" err="1">
                <a:effectLst/>
                <a:latin typeface="Aptos Display" panose="020B0004020202020204" pitchFamily="34" charset="0"/>
                <a:ea typeface="Aptos" panose="020B0004020202020204" pitchFamily="34" charset="0"/>
                <a:cs typeface="Times New Roman" panose="02020603050405020304" pitchFamily="18" charset="0"/>
              </a:rPr>
              <a:t>compra</a:t>
            </a:r>
            <a:endParaRPr lang="en-US" sz="1500" b="1" kern="100" dirty="0">
              <a:effectLst/>
              <a:latin typeface="Aptos Display"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pPr>
            <a:endParaRPr lang="en-US" sz="1500" kern="100" dirty="0">
              <a:effectLst/>
              <a:latin typeface="Aptos Display" panose="020B0004020202020204" pitchFamily="34" charset="0"/>
              <a:ea typeface="Aptos" panose="020B0004020202020204" pitchFamily="34" charset="0"/>
              <a:cs typeface="Times New Roman" panose="02020603050405020304" pitchFamily="18" charset="0"/>
            </a:endParaRPr>
          </a:p>
          <a:p>
            <a:pPr marL="342900" marR="0" lvl="0" indent="-342900">
              <a:lnSpc>
                <a:spcPct val="115000"/>
              </a:lnSpc>
              <a:spcAft>
                <a:spcPts val="800"/>
              </a:spcAft>
              <a:buSzPts val="1000"/>
              <a:buFont typeface="Symbol" panose="05050102010706020507" pitchFamily="18" charset="2"/>
              <a:buChar char=""/>
              <a:tabLst>
                <a:tab pos="457200" algn="l"/>
              </a:tabLst>
            </a:pPr>
            <a:r>
              <a:rPr lang="es-MX" sz="1400" b="1" kern="100" dirty="0">
                <a:effectLst/>
                <a:latin typeface="Aptos Display" panose="020B0004020202020204" pitchFamily="34" charset="0"/>
                <a:ea typeface="Aptos" panose="020B0004020202020204" pitchFamily="34" charset="0"/>
                <a:cs typeface="Times New Roman" panose="02020603050405020304" pitchFamily="18" charset="0"/>
              </a:rPr>
              <a:t>Investigación previa:</a:t>
            </a:r>
            <a:r>
              <a:rPr lang="es-MX" sz="1400" kern="100" dirty="0">
                <a:effectLst/>
                <a:latin typeface="Aptos Display" panose="020B0004020202020204" pitchFamily="34" charset="0"/>
                <a:ea typeface="Aptos" panose="020B0004020202020204" pitchFamily="34" charset="0"/>
                <a:cs typeface="Times New Roman" panose="02020603050405020304" pitchFamily="18" charset="0"/>
              </a:rPr>
              <a:t> Los compradores modernos son investigadores activos que exploran opciones, leen reseñas y asisten a múltiples presentaciones antes de tomar una decisión.</a:t>
            </a:r>
            <a:endParaRPr lang="en-US" sz="1400" kern="100" dirty="0">
              <a:effectLst/>
              <a:latin typeface="Aptos Display" panose="020B0004020202020204" pitchFamily="34" charset="0"/>
              <a:ea typeface="Aptos" panose="020B0004020202020204" pitchFamily="34" charset="0"/>
              <a:cs typeface="Times New Roman" panose="02020603050405020304" pitchFamily="18" charset="0"/>
            </a:endParaRPr>
          </a:p>
          <a:p>
            <a:pPr marL="342900" marR="0" lvl="0" indent="-342900">
              <a:lnSpc>
                <a:spcPct val="115000"/>
              </a:lnSpc>
              <a:spcAft>
                <a:spcPts val="800"/>
              </a:spcAft>
              <a:buSzPts val="1000"/>
              <a:buFont typeface="Symbol" panose="05050102010706020507" pitchFamily="18" charset="2"/>
              <a:buChar char=""/>
              <a:tabLst>
                <a:tab pos="457200" algn="l"/>
              </a:tabLst>
            </a:pPr>
            <a:r>
              <a:rPr lang="es-MX" sz="1400" b="1" kern="100" dirty="0">
                <a:effectLst/>
                <a:latin typeface="Aptos Display" panose="020B0004020202020204" pitchFamily="34" charset="0"/>
                <a:ea typeface="Aptos" panose="020B0004020202020204" pitchFamily="34" charset="0"/>
                <a:cs typeface="Times New Roman" panose="02020603050405020304" pitchFamily="18" charset="0"/>
              </a:rPr>
              <a:t>Canales de venta:</a:t>
            </a:r>
            <a:r>
              <a:rPr lang="es-MX" sz="1400" kern="100" dirty="0">
                <a:effectLst/>
                <a:latin typeface="Aptos Display" panose="020B0004020202020204" pitchFamily="34" charset="0"/>
                <a:ea typeface="Aptos" panose="020B0004020202020204" pitchFamily="34" charset="0"/>
                <a:cs typeface="Times New Roman" panose="02020603050405020304" pitchFamily="18" charset="0"/>
              </a:rPr>
              <a:t> A diferencia de los modelos de venta más tradicionales, los clientes más jóvenes a menudo investigan en línea y pueden utilizar canales como el mercado de reventa para comprar membresías.</a:t>
            </a:r>
            <a:endParaRPr lang="en-US" sz="1400" kern="100" dirty="0">
              <a:effectLst/>
              <a:latin typeface="Aptos Display" panose="020B0004020202020204" pitchFamily="34" charset="0"/>
              <a:ea typeface="Aptos" panose="020B0004020202020204" pitchFamily="34" charset="0"/>
              <a:cs typeface="Times New Roman" panose="02020603050405020304" pitchFamily="18" charset="0"/>
            </a:endParaRPr>
          </a:p>
          <a:p>
            <a:pPr marL="342900" marR="0" lvl="0" indent="-342900">
              <a:lnSpc>
                <a:spcPct val="115000"/>
              </a:lnSpc>
              <a:spcAft>
                <a:spcPts val="800"/>
              </a:spcAft>
              <a:buSzPts val="1000"/>
              <a:buFont typeface="Symbol" panose="05050102010706020507" pitchFamily="18" charset="2"/>
              <a:buChar char=""/>
              <a:tabLst>
                <a:tab pos="457200" algn="l"/>
              </a:tabLst>
            </a:pPr>
            <a:r>
              <a:rPr lang="es-MX" sz="1400" b="1" kern="100" dirty="0">
                <a:effectLst/>
                <a:latin typeface="Aptos Display" panose="020B0004020202020204" pitchFamily="34" charset="0"/>
                <a:ea typeface="Aptos" panose="020B0004020202020204" pitchFamily="34" charset="0"/>
                <a:cs typeface="Times New Roman" panose="02020603050405020304" pitchFamily="18" charset="0"/>
              </a:rPr>
              <a:t>Consideraciones ecológicas:</a:t>
            </a:r>
            <a:r>
              <a:rPr lang="es-MX" sz="1400" kern="100" dirty="0">
                <a:effectLst/>
                <a:latin typeface="Aptos Display" panose="020B0004020202020204" pitchFamily="34" charset="0"/>
                <a:ea typeface="Aptos" panose="020B0004020202020204" pitchFamily="34" charset="0"/>
                <a:cs typeface="Times New Roman" panose="02020603050405020304" pitchFamily="18" charset="0"/>
              </a:rPr>
              <a:t> Los viajeros con conciencia ambiental se sienten atraídos por los clubs que adoptan prácticas sostenibles y ecológicas. </a:t>
            </a:r>
            <a:endParaRPr lang="en-US" sz="1400" kern="100" dirty="0">
              <a:effectLst/>
              <a:latin typeface="Aptos Display" panose="020B0004020202020204" pitchFamily="34" charset="0"/>
              <a:ea typeface="Aptos" panose="020B0004020202020204" pitchFamily="34" charset="0"/>
              <a:cs typeface="Times New Roman" panose="02020603050405020304" pitchFamily="18" charset="0"/>
            </a:endParaRPr>
          </a:p>
        </p:txBody>
      </p:sp>
      <p:pic>
        <p:nvPicPr>
          <p:cNvPr id="2" name="Picture 1">
            <a:extLst>
              <a:ext uri="{FF2B5EF4-FFF2-40B4-BE49-F238E27FC236}">
                <a16:creationId xmlns:a16="http://schemas.microsoft.com/office/drawing/2014/main" id="{890FEBA7-EA16-250C-B630-39E942723C72}"/>
              </a:ext>
            </a:extLst>
          </p:cNvPr>
          <p:cNvPicPr>
            <a:picLocks noChangeAspect="1"/>
          </p:cNvPicPr>
          <p:nvPr/>
        </p:nvPicPr>
        <p:blipFill>
          <a:blip r:embed="rId2">
            <a:alphaModFix amt="10000"/>
          </a:blip>
          <a:stretch>
            <a:fillRect/>
          </a:stretch>
        </p:blipFill>
        <p:spPr>
          <a:xfrm>
            <a:off x="3343133" y="1257745"/>
            <a:ext cx="5505733" cy="5346975"/>
          </a:xfrm>
          <a:prstGeom prst="rect">
            <a:avLst/>
          </a:prstGeom>
        </p:spPr>
      </p:pic>
    </p:spTree>
    <p:extLst>
      <p:ext uri="{BB962C8B-B14F-4D97-AF65-F5344CB8AC3E}">
        <p14:creationId xmlns:p14="http://schemas.microsoft.com/office/powerpoint/2010/main" val="27494351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ustom Design">
  <a:themeElements>
    <a:clrScheme name="Custom 7">
      <a:dk1>
        <a:sysClr val="windowText" lastClr="000000"/>
      </a:dk1>
      <a:lt1>
        <a:sysClr val="window" lastClr="FFFFFF"/>
      </a:lt1>
      <a:dk2>
        <a:srgbClr val="44546A"/>
      </a:dk2>
      <a:lt2>
        <a:srgbClr val="E7E6E6"/>
      </a:lt2>
      <a:accent1>
        <a:srgbClr val="D90000"/>
      </a:accent1>
      <a:accent2>
        <a:srgbClr val="FDA53B"/>
      </a:accent2>
      <a:accent3>
        <a:srgbClr val="181818"/>
      </a:accent3>
      <a:accent4>
        <a:srgbClr val="EBEBEB"/>
      </a:accent4>
      <a:accent5>
        <a:srgbClr val="171B1F"/>
      </a:accent5>
      <a:accent6>
        <a:srgbClr val="70AD47"/>
      </a:accent6>
      <a:hlink>
        <a:srgbClr val="0563C1"/>
      </a:hlink>
      <a:folHlink>
        <a:srgbClr val="954F72"/>
      </a:folHlink>
    </a:clrScheme>
    <a:fontScheme name="Custom 12">
      <a:majorFont>
        <a:latin typeface="Oswald"/>
        <a:ea typeface=""/>
        <a:cs typeface=""/>
      </a:majorFont>
      <a:minorFont>
        <a:latin typeface="Inter T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ntent layouts section">
  <a:themeElements>
    <a:clrScheme name="MVW 1">
      <a:dk1>
        <a:srgbClr val="212427"/>
      </a:dk1>
      <a:lt1>
        <a:srgbClr val="666666"/>
      </a:lt1>
      <a:dk2>
        <a:srgbClr val="FFFFFF"/>
      </a:dk2>
      <a:lt2>
        <a:srgbClr val="071758"/>
      </a:lt2>
      <a:accent1>
        <a:srgbClr val="071758"/>
      </a:accent1>
      <a:accent2>
        <a:srgbClr val="FFFFFF"/>
      </a:accent2>
      <a:accent3>
        <a:srgbClr val="ABDBFF"/>
      </a:accent3>
      <a:accent4>
        <a:srgbClr val="0077BE"/>
      </a:accent4>
      <a:accent5>
        <a:srgbClr val="70005C"/>
      </a:accent5>
      <a:accent6>
        <a:srgbClr val="666666"/>
      </a:accent6>
      <a:hlink>
        <a:srgbClr val="0077BE"/>
      </a:hlink>
      <a:folHlink>
        <a:srgbClr val="70005C"/>
      </a:folHlink>
    </a:clrScheme>
    <a:fontScheme name="Urbanist">
      <a:majorFont>
        <a:latin typeface="Urbanist SemiBold"/>
        <a:ea typeface=""/>
        <a:cs typeface=""/>
      </a:majorFont>
      <a:minorFont>
        <a:latin typeface="Urbanis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a:spAutoFit/>
      </a:bodyPr>
      <a:lstStyle>
        <a:def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kumimoji="0" sz="1200" b="0" i="0" u="none" strike="noStrike" kern="1200" cap="none" spc="0" normalizeH="0" baseline="0" noProof="0" dirty="0">
            <a:ln>
              <a:noFill/>
            </a:ln>
            <a:solidFill>
              <a:srgbClr val="666666"/>
            </a:solidFill>
            <a:effectLst/>
            <a:uLnTx/>
            <a:uFillTx/>
            <a:latin typeface="Urbanist Medium" panose="020B0A04040200000203" pitchFamily="34" charset="77"/>
            <a:ea typeface="Urbanist Medium" panose="020B0A04040200000203" pitchFamily="34" charset="77"/>
            <a:cs typeface="Urbanist Medium" panose="020B0A04040200000203" pitchFamily="34" charset="77"/>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E42EAECAB7CF14B80A6228FFEE10D39" ma:contentTypeVersion="16" ma:contentTypeDescription="Create a new document." ma:contentTypeScope="" ma:versionID="d86aefe06275bdd19205c4becd2ebdba">
  <xsd:schema xmlns:xsd="http://www.w3.org/2001/XMLSchema" xmlns:xs="http://www.w3.org/2001/XMLSchema" xmlns:p="http://schemas.microsoft.com/office/2006/metadata/properties" xmlns:ns2="6a583a72-1896-42fd-adfa-52846f4bfcf7" xmlns:ns3="f1448837-d740-4629-aa16-fbbbed0ddfb9" xmlns:ns4="afb36a70-561b-4102-9c67-bb52e08c5e31" targetNamespace="http://schemas.microsoft.com/office/2006/metadata/properties" ma:root="true" ma:fieldsID="59a6e77e3f0ab2bf0727b56e490953db" ns2:_="" ns3:_="" ns4:_="">
    <xsd:import namespace="6a583a72-1896-42fd-adfa-52846f4bfcf7"/>
    <xsd:import namespace="f1448837-d740-4629-aa16-fbbbed0ddfb9"/>
    <xsd:import namespace="afb36a70-561b-4102-9c67-bb52e08c5e31"/>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LengthInSeconds" minOccurs="0"/>
                <xsd:element ref="ns3:MediaServiceObjectDetectorVersions" minOccurs="0"/>
                <xsd:element ref="ns3:MediaServiceGenerationTime" minOccurs="0"/>
                <xsd:element ref="ns3:MediaServiceEventHashCode" minOccurs="0"/>
                <xsd:element ref="ns3:MediaServiceSearchProperties" minOccurs="0"/>
                <xsd:element ref="ns3:lcf76f155ced4ddcb4097134ff3c332f" minOccurs="0"/>
                <xsd:element ref="ns4:TaxCatchAll" minOccurs="0"/>
                <xsd:element ref="ns3:MediaServiceOCR" minOccurs="0"/>
                <xsd:element ref="ns3: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a583a72-1896-42fd-adfa-52846f4bfcf7" elementFormDefault="qualified">
    <xsd:import namespace="http://schemas.microsoft.com/office/2006/documentManagement/types"/>
    <xsd:import namespace="http://schemas.microsoft.com/office/infopath/2007/PartnerControls"/>
    <xsd:element name="SharedWithUsers" ma:index="8"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1448837-d740-4629-aa16-fbbbed0ddfb9"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7" nillable="true" ma:displayName="MediaServiceSearchProperties" ma:hidden="true" ma:internalName="MediaServiceSearchProperties" ma:readOnly="true">
      <xsd:simpleType>
        <xsd:restriction base="dms:Note"/>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f6d4e8cb-c062-44c1-a705-8bc367ca517e"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fb36a70-561b-4102-9c67-bb52e08c5e31"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ce5e308d-c9f5-4f1c-9b31-0869022472ad}" ma:internalName="TaxCatchAll" ma:showField="CatchAllData" ma:web="6a583a72-1896-42fd-adfa-52846f4bfcf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f1448837-d740-4629-aa16-fbbbed0ddfb9">
      <Terms xmlns="http://schemas.microsoft.com/office/infopath/2007/PartnerControls"/>
    </lcf76f155ced4ddcb4097134ff3c332f>
    <TaxCatchAll xmlns="afb36a70-561b-4102-9c67-bb52e08c5e31" xsi:nil="true"/>
  </documentManagement>
</p:properties>
</file>

<file path=customXml/itemProps1.xml><?xml version="1.0" encoding="utf-8"?>
<ds:datastoreItem xmlns:ds="http://schemas.openxmlformats.org/officeDocument/2006/customXml" ds:itemID="{AB577349-5932-4640-8ABC-A96D262D0699}">
  <ds:schemaRefs>
    <ds:schemaRef ds:uri="http://schemas.microsoft.com/sharepoint/v3/contenttype/forms"/>
  </ds:schemaRefs>
</ds:datastoreItem>
</file>

<file path=customXml/itemProps2.xml><?xml version="1.0" encoding="utf-8"?>
<ds:datastoreItem xmlns:ds="http://schemas.openxmlformats.org/officeDocument/2006/customXml" ds:itemID="{452A4ABE-1EA5-4097-B34E-A39971C278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a583a72-1896-42fd-adfa-52846f4bfcf7"/>
    <ds:schemaRef ds:uri="f1448837-d740-4629-aa16-fbbbed0ddfb9"/>
    <ds:schemaRef ds:uri="afb36a70-561b-4102-9c67-bb52e08c5e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89611A7-64AC-46E4-A4F0-B7D0148D9DCA}">
  <ds:schemaRefs>
    <ds:schemaRef ds:uri="http://schemas.openxmlformats.org/package/2006/metadata/core-properties"/>
    <ds:schemaRef ds:uri="http://purl.org/dc/terms/"/>
    <ds:schemaRef ds:uri="http://purl.org/dc/dcmitype/"/>
    <ds:schemaRef ds:uri="http://purl.org/dc/elements/1.1/"/>
    <ds:schemaRef ds:uri="afb36a70-561b-4102-9c67-bb52e08c5e31"/>
    <ds:schemaRef ds:uri="6a583a72-1896-42fd-adfa-52846f4bfcf7"/>
    <ds:schemaRef ds:uri="http://schemas.microsoft.com/office/2006/documentManagement/types"/>
    <ds:schemaRef ds:uri="http://schemas.microsoft.com/office/2006/metadata/properties"/>
    <ds:schemaRef ds:uri="f1448837-d740-4629-aa16-fbbbed0ddfb9"/>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7208</TotalTime>
  <Words>3867</Words>
  <Application>Microsoft Office PowerPoint</Application>
  <PresentationFormat>Widescreen</PresentationFormat>
  <Paragraphs>369</Paragraphs>
  <Slides>37</Slides>
  <Notes>5</Notes>
  <HiddenSlides>0</HiddenSlides>
  <MMClips>0</MMClips>
  <ScaleCrop>false</ScaleCrop>
  <HeadingPairs>
    <vt:vector size="8" baseType="variant">
      <vt:variant>
        <vt:lpstr>Fonts Used</vt:lpstr>
      </vt:variant>
      <vt:variant>
        <vt:i4>15</vt:i4>
      </vt: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55" baseType="lpstr">
      <vt:lpstr>Urbanist Medium</vt:lpstr>
      <vt:lpstr>Calibri</vt:lpstr>
      <vt:lpstr>Urbanist SemiBold</vt:lpstr>
      <vt:lpstr>Inter Tight</vt:lpstr>
      <vt:lpstr>Aptos Display</vt:lpstr>
      <vt:lpstr>Oswald</vt:lpstr>
      <vt:lpstr>-apple-system</vt:lpstr>
      <vt:lpstr>Urbanist</vt:lpstr>
      <vt:lpstr>Arial</vt:lpstr>
      <vt:lpstr>Wingdings</vt:lpstr>
      <vt:lpstr>Poppins</vt:lpstr>
      <vt:lpstr>Symbol</vt:lpstr>
      <vt:lpstr>Poppins SemiBold</vt:lpstr>
      <vt:lpstr>Aptos</vt:lpstr>
      <vt:lpstr>Poppins Light</vt:lpstr>
      <vt:lpstr>1_Custom Design</vt:lpstr>
      <vt:lpstr>Content layouts section</vt:lpstr>
      <vt:lpstr>think-cell Slide</vt:lpstr>
      <vt:lpstr>PowerPoint Presentation</vt:lpstr>
      <vt:lpst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mdan yuwafi</dc:creator>
  <cp:lastModifiedBy>Villegas, Ximena</cp:lastModifiedBy>
  <cp:revision>272</cp:revision>
  <dcterms:created xsi:type="dcterms:W3CDTF">2023-12-24T09:19:13Z</dcterms:created>
  <dcterms:modified xsi:type="dcterms:W3CDTF">2025-10-17T17:18: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42EAECAB7CF14B80A6228FFEE10D39</vt:lpwstr>
  </property>
  <property fmtid="{D5CDD505-2E9C-101B-9397-08002B2CF9AE}" pid="3" name="MediaServiceImageTags">
    <vt:lpwstr/>
  </property>
</Properties>
</file>